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1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3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4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5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6.xml" ContentType="application/vnd.openxmlformats-officedocument.theme+xml"/>
  <Override PartName="/ppt/slideLayouts/slideLayout155.xml" ContentType="application/vnd.openxmlformats-officedocument.presentationml.slideLayout+xml"/>
  <Override PartName="/ppt/theme/theme17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8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9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0.xml" ContentType="application/vnd.openxmlformats-officedocument.theme+xml"/>
  <Override PartName="/ppt/tags/tag2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1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22.xml" ContentType="application/vnd.openxmlformats-officedocument.theme+xml"/>
  <Override PartName="/ppt/tags/tag3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23.xml" ContentType="application/vnd.openxmlformats-officedocument.theme+xml"/>
  <Override PartName="/ppt/tags/tag4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4.xml" ContentType="application/vnd.openxmlformats-officedocument.theme+xml"/>
  <Override PartName="/ppt/tags/tag5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26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27.xml" ContentType="application/vnd.openxmlformats-officedocument.theme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28.xml" ContentType="application/vnd.openxmlformats-officedocument.theme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29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30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31.xml" ContentType="application/vnd.openxmlformats-officedocument.theme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3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33.xml" ContentType="application/vnd.openxmlformats-officedocument.theme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34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35.xml" ContentType="application/vnd.openxmlformats-officedocument.theme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theme/theme36.xml" ContentType="application/vnd.openxmlformats-officedocument.theme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37.xml" ContentType="application/vnd.openxmlformats-officedocument.theme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theme/theme38.xml" ContentType="application/vnd.openxmlformats-officedocument.theme+xml"/>
  <Override PartName="/ppt/tags/tag19.xml" ContentType="application/vnd.openxmlformats-officedocument.presentationml.tags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39.xml" ContentType="application/vnd.openxmlformats-officedocument.theme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40.xml" ContentType="application/vnd.openxmlformats-officedocument.theme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41.xml" ContentType="application/vnd.openxmlformats-officedocument.theme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theme/theme42.xml" ContentType="application/vnd.openxmlformats-officedocument.theme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theme/theme43.xml" ContentType="application/vnd.openxmlformats-officedocument.theme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theme/theme44.xml" ContentType="application/vnd.openxmlformats-officedocument.theme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theme/theme45.xml" ContentType="application/vnd.openxmlformats-officedocument.theme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theme/theme46.xml" ContentType="application/vnd.openxmlformats-officedocument.theme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theme/theme47.xml" ContentType="application/vnd.openxmlformats-officedocument.theme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48.xml" ContentType="application/vnd.openxmlformats-officedocument.theme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theme/theme49.xml" ContentType="application/vnd.openxmlformats-officedocument.theme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50.xml" ContentType="application/vnd.openxmlformats-officedocument.theme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heme/theme51.xml" ContentType="application/vnd.openxmlformats-officedocument.theme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theme/theme52.xml" ContentType="application/vnd.openxmlformats-officedocument.theme+xml"/>
  <Override PartName="/ppt/theme/theme53.xml" ContentType="application/vnd.openxmlformats-officedocument.theme+xml"/>
  <Override PartName="/ppt/theme/theme5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7"/>
    <p:sldMasterId id="2147483732" r:id="rId8"/>
    <p:sldMasterId id="2147483821" r:id="rId9"/>
    <p:sldMasterId id="2147483893" r:id="rId10"/>
    <p:sldMasterId id="2147484040" r:id="rId11"/>
    <p:sldMasterId id="2147484060" r:id="rId12"/>
    <p:sldMasterId id="2147484089" r:id="rId13"/>
    <p:sldMasterId id="2147484116" r:id="rId14"/>
    <p:sldMasterId id="2147484128" r:id="rId15"/>
    <p:sldMasterId id="2147484151" r:id="rId16"/>
    <p:sldMasterId id="2147484164" r:id="rId17"/>
    <p:sldMasterId id="2147484176" r:id="rId18"/>
    <p:sldMasterId id="2147484202" r:id="rId19"/>
    <p:sldMasterId id="2147484232" r:id="rId20"/>
    <p:sldMasterId id="2147484242" r:id="rId21"/>
    <p:sldMasterId id="2147484262" r:id="rId22"/>
    <p:sldMasterId id="2147484296" r:id="rId23"/>
    <p:sldMasterId id="2147484332" r:id="rId24"/>
    <p:sldMasterId id="2147484361" r:id="rId25"/>
    <p:sldMasterId id="2147484383" r:id="rId26"/>
    <p:sldMasterId id="2147484400" r:id="rId27"/>
    <p:sldMasterId id="2147484416" r:id="rId28"/>
    <p:sldMasterId id="2147484434" r:id="rId29"/>
    <p:sldMasterId id="2147484461" r:id="rId30"/>
    <p:sldMasterId id="2147484466" r:id="rId31"/>
    <p:sldMasterId id="2147484478" r:id="rId32"/>
    <p:sldMasterId id="2147484487" r:id="rId33"/>
    <p:sldMasterId id="2147484494" r:id="rId34"/>
    <p:sldMasterId id="2147484508" r:id="rId35"/>
    <p:sldMasterId id="2147484536" r:id="rId36"/>
    <p:sldMasterId id="2147484543" r:id="rId37"/>
    <p:sldMasterId id="2147484554" r:id="rId38"/>
    <p:sldMasterId id="2147484560" r:id="rId39"/>
    <p:sldMasterId id="2147484571" r:id="rId40"/>
    <p:sldMasterId id="2147484589" r:id="rId41"/>
    <p:sldMasterId id="2147484610" r:id="rId42"/>
    <p:sldMasterId id="2147484621" r:id="rId43"/>
    <p:sldMasterId id="2147484632" r:id="rId44"/>
    <p:sldMasterId id="2147484654" r:id="rId45"/>
    <p:sldMasterId id="2147484670" r:id="rId46"/>
    <p:sldMasterId id="2147484685" r:id="rId47"/>
    <p:sldMasterId id="2147484721" r:id="rId48"/>
    <p:sldMasterId id="2147484731" r:id="rId49"/>
    <p:sldMasterId id="2147484755" r:id="rId50"/>
    <p:sldMasterId id="2147484768" r:id="rId51"/>
    <p:sldMasterId id="2147484785" r:id="rId52"/>
    <p:sldMasterId id="2147484792" r:id="rId53"/>
    <p:sldMasterId id="2147484798" r:id="rId54"/>
    <p:sldMasterId id="2147484813" r:id="rId55"/>
    <p:sldMasterId id="2147484823" r:id="rId56"/>
    <p:sldMasterId id="2147484855" r:id="rId57"/>
    <p:sldMasterId id="2147484876" r:id="rId58"/>
  </p:sldMasterIdLst>
  <p:notesMasterIdLst>
    <p:notesMasterId r:id="rId65"/>
  </p:notesMasterIdLst>
  <p:handoutMasterIdLst>
    <p:handoutMasterId r:id="rId66"/>
  </p:handoutMasterIdLst>
  <p:sldIdLst>
    <p:sldId id="854" r:id="rId59"/>
    <p:sldId id="259" r:id="rId60"/>
    <p:sldId id="912" r:id="rId61"/>
    <p:sldId id="565" r:id="rId62"/>
    <p:sldId id="514" r:id="rId63"/>
    <p:sldId id="920" r:id="rId64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50" userDrawn="1">
          <p15:clr>
            <a:srgbClr val="A4A3A4"/>
          </p15:clr>
        </p15:guide>
        <p15:guide id="4" pos="2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135"/>
    <a:srgbClr val="FFFFFF"/>
    <a:srgbClr val="89919C"/>
    <a:srgbClr val="98A2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4" autoAdjust="0"/>
    <p:restoredTop sz="89763" autoAdjust="0"/>
  </p:normalViewPr>
  <p:slideViewPr>
    <p:cSldViewPr snapToGrid="0">
      <p:cViewPr varScale="1">
        <p:scale>
          <a:sx n="139" d="100"/>
          <a:sy n="139" d="100"/>
        </p:scale>
        <p:origin x="1400" y="168"/>
      </p:cViewPr>
      <p:guideLst>
        <p:guide orient="horz" pos="1620"/>
        <p:guide pos="2880"/>
        <p:guide orient="horz" pos="350"/>
        <p:guide pos="2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8780"/>
    </p:cViewPr>
  </p:sorterViewPr>
  <p:notesViewPr>
    <p:cSldViewPr snapToGrid="0">
      <p:cViewPr varScale="1">
        <p:scale>
          <a:sx n="66" d="100"/>
          <a:sy n="66" d="100"/>
        </p:scale>
        <p:origin x="325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0.xml"/><Relationship Id="rId21" Type="http://schemas.openxmlformats.org/officeDocument/2006/relationships/slideMaster" Target="slideMasters/slideMaster15.xml"/><Relationship Id="rId42" Type="http://schemas.openxmlformats.org/officeDocument/2006/relationships/slideMaster" Target="slideMasters/slideMaster36.xml"/><Relationship Id="rId47" Type="http://schemas.openxmlformats.org/officeDocument/2006/relationships/slideMaster" Target="slideMasters/slideMaster41.xml"/><Relationship Id="rId63" Type="http://schemas.openxmlformats.org/officeDocument/2006/relationships/slide" Target="slides/slide5.xml"/><Relationship Id="rId68" Type="http://schemas.openxmlformats.org/officeDocument/2006/relationships/viewProps" Target="viewProps.xml"/><Relationship Id="rId7" Type="http://schemas.openxmlformats.org/officeDocument/2006/relationships/slideMaster" Target="slideMasters/slide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0.xml"/><Relationship Id="rId29" Type="http://schemas.openxmlformats.org/officeDocument/2006/relationships/slideMaster" Target="slideMasters/slideMaster23.xml"/><Relationship Id="rId11" Type="http://schemas.openxmlformats.org/officeDocument/2006/relationships/slideMaster" Target="slideMasters/slideMaster5.xml"/><Relationship Id="rId24" Type="http://schemas.openxmlformats.org/officeDocument/2006/relationships/slideMaster" Target="slideMasters/slideMaster18.xml"/><Relationship Id="rId32" Type="http://schemas.openxmlformats.org/officeDocument/2006/relationships/slideMaster" Target="slideMasters/slideMaster26.xml"/><Relationship Id="rId37" Type="http://schemas.openxmlformats.org/officeDocument/2006/relationships/slideMaster" Target="slideMasters/slideMaster31.xml"/><Relationship Id="rId40" Type="http://schemas.openxmlformats.org/officeDocument/2006/relationships/slideMaster" Target="slideMasters/slideMaster34.xml"/><Relationship Id="rId45" Type="http://schemas.openxmlformats.org/officeDocument/2006/relationships/slideMaster" Target="slideMasters/slideMaster39.xml"/><Relationship Id="rId53" Type="http://schemas.openxmlformats.org/officeDocument/2006/relationships/slideMaster" Target="slideMasters/slideMaster47.xml"/><Relationship Id="rId58" Type="http://schemas.openxmlformats.org/officeDocument/2006/relationships/slideMaster" Target="slideMasters/slideMaster52.xml"/><Relationship Id="rId66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61" Type="http://schemas.openxmlformats.org/officeDocument/2006/relationships/slide" Target="slides/slide3.xml"/><Relationship Id="rId19" Type="http://schemas.openxmlformats.org/officeDocument/2006/relationships/slideMaster" Target="slideMasters/slideMaster13.xml"/><Relationship Id="rId14" Type="http://schemas.openxmlformats.org/officeDocument/2006/relationships/slideMaster" Target="slideMasters/slideMaster8.xml"/><Relationship Id="rId22" Type="http://schemas.openxmlformats.org/officeDocument/2006/relationships/slideMaster" Target="slideMasters/slideMaster16.xml"/><Relationship Id="rId27" Type="http://schemas.openxmlformats.org/officeDocument/2006/relationships/slideMaster" Target="slideMasters/slideMaster21.xml"/><Relationship Id="rId30" Type="http://schemas.openxmlformats.org/officeDocument/2006/relationships/slideMaster" Target="slideMasters/slideMaster24.xml"/><Relationship Id="rId35" Type="http://schemas.openxmlformats.org/officeDocument/2006/relationships/slideMaster" Target="slideMasters/slideMaster29.xml"/><Relationship Id="rId43" Type="http://schemas.openxmlformats.org/officeDocument/2006/relationships/slideMaster" Target="slideMasters/slideMaster37.xml"/><Relationship Id="rId48" Type="http://schemas.openxmlformats.org/officeDocument/2006/relationships/slideMaster" Target="slideMasters/slideMaster42.xml"/><Relationship Id="rId56" Type="http://schemas.openxmlformats.org/officeDocument/2006/relationships/slideMaster" Target="slideMasters/slideMaster50.xml"/><Relationship Id="rId64" Type="http://schemas.openxmlformats.org/officeDocument/2006/relationships/slide" Target="slides/slide6.xml"/><Relationship Id="rId69" Type="http://schemas.openxmlformats.org/officeDocument/2006/relationships/theme" Target="theme/theme1.xml"/><Relationship Id="rId8" Type="http://schemas.openxmlformats.org/officeDocument/2006/relationships/slideMaster" Target="slideMasters/slideMaster2.xml"/><Relationship Id="rId51" Type="http://schemas.openxmlformats.org/officeDocument/2006/relationships/slideMaster" Target="slideMasters/slideMaster4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6.xml"/><Relationship Id="rId17" Type="http://schemas.openxmlformats.org/officeDocument/2006/relationships/slideMaster" Target="slideMasters/slideMaster11.xml"/><Relationship Id="rId25" Type="http://schemas.openxmlformats.org/officeDocument/2006/relationships/slideMaster" Target="slideMasters/slideMaster19.xml"/><Relationship Id="rId33" Type="http://schemas.openxmlformats.org/officeDocument/2006/relationships/slideMaster" Target="slideMasters/slideMaster27.xml"/><Relationship Id="rId38" Type="http://schemas.openxmlformats.org/officeDocument/2006/relationships/slideMaster" Target="slideMasters/slideMaster32.xml"/><Relationship Id="rId46" Type="http://schemas.openxmlformats.org/officeDocument/2006/relationships/slideMaster" Target="slideMasters/slideMaster40.xml"/><Relationship Id="rId59" Type="http://schemas.openxmlformats.org/officeDocument/2006/relationships/slide" Target="slides/slide1.xml"/><Relationship Id="rId67" Type="http://schemas.openxmlformats.org/officeDocument/2006/relationships/presProps" Target="presProps.xml"/><Relationship Id="rId20" Type="http://schemas.openxmlformats.org/officeDocument/2006/relationships/slideMaster" Target="slideMasters/slideMaster14.xml"/><Relationship Id="rId41" Type="http://schemas.openxmlformats.org/officeDocument/2006/relationships/slideMaster" Target="slideMasters/slideMaster35.xml"/><Relationship Id="rId54" Type="http://schemas.openxmlformats.org/officeDocument/2006/relationships/slideMaster" Target="slideMasters/slideMaster48.xml"/><Relationship Id="rId62" Type="http://schemas.openxmlformats.org/officeDocument/2006/relationships/slide" Target="slides/slide4.xml"/><Relationship Id="rId7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Master" Target="slideMasters/slideMaster9.xml"/><Relationship Id="rId23" Type="http://schemas.openxmlformats.org/officeDocument/2006/relationships/slideMaster" Target="slideMasters/slideMaster17.xml"/><Relationship Id="rId28" Type="http://schemas.openxmlformats.org/officeDocument/2006/relationships/slideMaster" Target="slideMasters/slideMaster22.xml"/><Relationship Id="rId36" Type="http://schemas.openxmlformats.org/officeDocument/2006/relationships/slideMaster" Target="slideMasters/slideMaster30.xml"/><Relationship Id="rId49" Type="http://schemas.openxmlformats.org/officeDocument/2006/relationships/slideMaster" Target="slideMasters/slideMaster43.xml"/><Relationship Id="rId57" Type="http://schemas.openxmlformats.org/officeDocument/2006/relationships/slideMaster" Target="slideMasters/slideMaster51.xml"/><Relationship Id="rId10" Type="http://schemas.openxmlformats.org/officeDocument/2006/relationships/slideMaster" Target="slideMasters/slideMaster4.xml"/><Relationship Id="rId31" Type="http://schemas.openxmlformats.org/officeDocument/2006/relationships/slideMaster" Target="slideMasters/slideMaster25.xml"/><Relationship Id="rId44" Type="http://schemas.openxmlformats.org/officeDocument/2006/relationships/slideMaster" Target="slideMasters/slideMaster38.xml"/><Relationship Id="rId52" Type="http://schemas.openxmlformats.org/officeDocument/2006/relationships/slideMaster" Target="slideMasters/slideMaster46.xml"/><Relationship Id="rId60" Type="http://schemas.openxmlformats.org/officeDocument/2006/relationships/slide" Target="slides/slide2.xml"/><Relationship Id="rId65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3" Type="http://schemas.openxmlformats.org/officeDocument/2006/relationships/slideMaster" Target="slideMasters/slideMaster7.xml"/><Relationship Id="rId18" Type="http://schemas.openxmlformats.org/officeDocument/2006/relationships/slideMaster" Target="slideMasters/slideMaster12.xml"/><Relationship Id="rId39" Type="http://schemas.openxmlformats.org/officeDocument/2006/relationships/slideMaster" Target="slideMasters/slideMaster33.xml"/><Relationship Id="rId34" Type="http://schemas.openxmlformats.org/officeDocument/2006/relationships/slideMaster" Target="slideMasters/slideMaster28.xml"/><Relationship Id="rId50" Type="http://schemas.openxmlformats.org/officeDocument/2006/relationships/slideMaster" Target="slideMasters/slideMaster44.xml"/><Relationship Id="rId55" Type="http://schemas.openxmlformats.org/officeDocument/2006/relationships/slideMaster" Target="slideMasters/slideMaster4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55F1FA-C8A3-4955-A333-BCECBCA4BFFD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67736B0-A66A-4DF6-AA83-F2C550EF4028}">
      <dgm:prSet phldrT="[Text]"/>
      <dgm:spPr>
        <a:solidFill>
          <a:srgbClr val="00B050"/>
        </a:solidFill>
      </dgm:spPr>
      <dgm:t>
        <a:bodyPr/>
        <a:lstStyle/>
        <a:p>
          <a:r>
            <a:rPr lang="en-US" altLang="zh-CN" dirty="0"/>
            <a:t>STEP1</a:t>
          </a:r>
        </a:p>
        <a:p>
          <a:r>
            <a:rPr lang="en-US" altLang="zh-CN" dirty="0"/>
            <a:t>N2/N3</a:t>
          </a:r>
          <a:r>
            <a:rPr lang="zh-CN" altLang="en-US" dirty="0"/>
            <a:t>接口离线解码</a:t>
          </a:r>
          <a:endParaRPr lang="en-US" dirty="0"/>
        </a:p>
      </dgm:t>
    </dgm:pt>
    <dgm:pt modelId="{E0FB01B5-7FE0-4328-8234-5862F3712D41}" type="parTrans" cxnId="{3B9D36C1-3441-4693-940A-7633696851DD}">
      <dgm:prSet/>
      <dgm:spPr/>
      <dgm:t>
        <a:bodyPr/>
        <a:lstStyle/>
        <a:p>
          <a:endParaRPr lang="en-US"/>
        </a:p>
      </dgm:t>
    </dgm:pt>
    <dgm:pt modelId="{0033DD06-1F8E-4916-BC07-DA9A544719E1}" type="sibTrans" cxnId="{3B9D36C1-3441-4693-940A-7633696851DD}">
      <dgm:prSet/>
      <dgm:spPr/>
      <dgm:t>
        <a:bodyPr/>
        <a:lstStyle/>
        <a:p>
          <a:endParaRPr lang="en-US"/>
        </a:p>
      </dgm:t>
    </dgm:pt>
    <dgm:pt modelId="{AD7D4B33-43FA-4DDE-BC51-F3B91FFED518}">
      <dgm:prSet phldrT="[Text]"/>
      <dgm:spPr/>
      <dgm:t>
        <a:bodyPr/>
        <a:lstStyle/>
        <a:p>
          <a:r>
            <a:rPr lang="zh-CN" altLang="en-US" dirty="0"/>
            <a:t>统计类应用数据支撑</a:t>
          </a:r>
          <a:endParaRPr lang="en-US" dirty="0"/>
        </a:p>
      </dgm:t>
    </dgm:pt>
    <dgm:pt modelId="{429BB005-51A6-4216-BBB8-EE452FD08F53}" type="parTrans" cxnId="{49DBF440-391A-4077-B264-54495425C182}">
      <dgm:prSet/>
      <dgm:spPr/>
      <dgm:t>
        <a:bodyPr/>
        <a:lstStyle/>
        <a:p>
          <a:endParaRPr lang="en-US"/>
        </a:p>
      </dgm:t>
    </dgm:pt>
    <dgm:pt modelId="{D049591F-12B1-4147-8CD0-715F0E970935}" type="sibTrans" cxnId="{49DBF440-391A-4077-B264-54495425C182}">
      <dgm:prSet/>
      <dgm:spPr/>
      <dgm:t>
        <a:bodyPr/>
        <a:lstStyle/>
        <a:p>
          <a:endParaRPr lang="en-US"/>
        </a:p>
      </dgm:t>
    </dgm:pt>
    <dgm:pt modelId="{61D49A05-EACD-41A7-8D1B-435038C41FAB}">
      <dgm:prSet phldrT="[Text]"/>
      <dgm:spPr/>
      <dgm:t>
        <a:bodyPr/>
        <a:lstStyle/>
        <a:p>
          <a:r>
            <a:rPr lang="en-US" altLang="zh-CN" dirty="0"/>
            <a:t>STEP2</a:t>
          </a:r>
          <a:endParaRPr lang="en-US" dirty="0"/>
        </a:p>
        <a:p>
          <a:r>
            <a:rPr lang="en-US" dirty="0"/>
            <a:t>+N8,N10,N11,N14</a:t>
          </a:r>
          <a:r>
            <a:rPr lang="zh-CN" altLang="en-US" dirty="0"/>
            <a:t>基本流程接口离线解码</a:t>
          </a:r>
          <a:endParaRPr lang="en-US" dirty="0"/>
        </a:p>
      </dgm:t>
    </dgm:pt>
    <dgm:pt modelId="{90D0FD18-AC45-4363-97A3-585BB386389D}" type="parTrans" cxnId="{3A9EADE6-9081-4580-AC3E-1D2AA88BDE73}">
      <dgm:prSet/>
      <dgm:spPr/>
      <dgm:t>
        <a:bodyPr/>
        <a:lstStyle/>
        <a:p>
          <a:endParaRPr lang="en-US"/>
        </a:p>
      </dgm:t>
    </dgm:pt>
    <dgm:pt modelId="{A7631F48-909E-4805-9D24-539BE01F7C24}" type="sibTrans" cxnId="{3A9EADE6-9081-4580-AC3E-1D2AA88BDE73}">
      <dgm:prSet/>
      <dgm:spPr/>
      <dgm:t>
        <a:bodyPr/>
        <a:lstStyle/>
        <a:p>
          <a:endParaRPr lang="en-US"/>
        </a:p>
      </dgm:t>
    </dgm:pt>
    <dgm:pt modelId="{FDD5DA13-2F57-4E30-84CD-F3204EFE5C72}">
      <dgm:prSet phldrT="[Text]"/>
      <dgm:spPr/>
      <dgm:t>
        <a:bodyPr/>
        <a:lstStyle/>
        <a:p>
          <a:r>
            <a:rPr lang="zh-CN" altLang="en-US" dirty="0"/>
            <a:t>流程类</a:t>
          </a:r>
          <a:r>
            <a:rPr lang="en-US" altLang="zh-CN" dirty="0"/>
            <a:t>/</a:t>
          </a:r>
          <a:r>
            <a:rPr lang="zh-CN" altLang="en-US" dirty="0"/>
            <a:t>用户类应用数据支撑</a:t>
          </a:r>
          <a:endParaRPr lang="en-US" dirty="0"/>
        </a:p>
      </dgm:t>
    </dgm:pt>
    <dgm:pt modelId="{289C9E82-3490-465D-B24E-372E6853C1BA}" type="parTrans" cxnId="{1C405F9D-8A95-424D-AB53-9A242389C561}">
      <dgm:prSet/>
      <dgm:spPr/>
      <dgm:t>
        <a:bodyPr/>
        <a:lstStyle/>
        <a:p>
          <a:endParaRPr lang="en-US"/>
        </a:p>
      </dgm:t>
    </dgm:pt>
    <dgm:pt modelId="{9EB94BBA-3653-48A1-BB35-44751D75791E}" type="sibTrans" cxnId="{1C405F9D-8A95-424D-AB53-9A242389C561}">
      <dgm:prSet/>
      <dgm:spPr/>
      <dgm:t>
        <a:bodyPr/>
        <a:lstStyle/>
        <a:p>
          <a:endParaRPr lang="en-US"/>
        </a:p>
      </dgm:t>
    </dgm:pt>
    <dgm:pt modelId="{3A30EC2B-D378-49EA-95C9-FF6B34CC2F2E}">
      <dgm:prSet phldrT="[Text]"/>
      <dgm:spPr/>
      <dgm:t>
        <a:bodyPr/>
        <a:lstStyle/>
        <a:p>
          <a:r>
            <a:rPr lang="zh-CN" altLang="en-US" dirty="0"/>
            <a:t>故障定位数据支撑</a:t>
          </a:r>
          <a:endParaRPr lang="en-US" dirty="0"/>
        </a:p>
      </dgm:t>
    </dgm:pt>
    <dgm:pt modelId="{C83803CF-1985-4859-A78B-DA6742EEE98F}" type="parTrans" cxnId="{9FA0334B-E65C-4528-BF6B-D67E0B742BAB}">
      <dgm:prSet/>
      <dgm:spPr/>
      <dgm:t>
        <a:bodyPr/>
        <a:lstStyle/>
        <a:p>
          <a:endParaRPr lang="en-US"/>
        </a:p>
      </dgm:t>
    </dgm:pt>
    <dgm:pt modelId="{2BBF741A-D071-4735-B7D7-DDD400310297}" type="sibTrans" cxnId="{9FA0334B-E65C-4528-BF6B-D67E0B742BAB}">
      <dgm:prSet/>
      <dgm:spPr/>
      <dgm:t>
        <a:bodyPr/>
        <a:lstStyle/>
        <a:p>
          <a:endParaRPr lang="en-US"/>
        </a:p>
      </dgm:t>
    </dgm:pt>
    <dgm:pt modelId="{4E4C8D72-117A-48C1-AE00-C6BB1E0848F8}">
      <dgm:prSet phldrT="[Text]"/>
      <dgm:spPr/>
      <dgm:t>
        <a:bodyPr/>
        <a:lstStyle/>
        <a:p>
          <a:r>
            <a:rPr lang="en-US" altLang="zh-CN" dirty="0"/>
            <a:t>STEP3</a:t>
          </a:r>
        </a:p>
        <a:p>
          <a:r>
            <a:rPr lang="zh-CN" altLang="en-US" dirty="0"/>
            <a:t>基本流程接口在线解码</a:t>
          </a:r>
          <a:endParaRPr lang="en-US" dirty="0"/>
        </a:p>
      </dgm:t>
    </dgm:pt>
    <dgm:pt modelId="{BD5D0714-E038-4D72-B5FD-B8BC1663750F}" type="parTrans" cxnId="{2F381652-AF35-4DCD-8685-F92F20B759B8}">
      <dgm:prSet/>
      <dgm:spPr/>
      <dgm:t>
        <a:bodyPr/>
        <a:lstStyle/>
        <a:p>
          <a:endParaRPr lang="en-US"/>
        </a:p>
      </dgm:t>
    </dgm:pt>
    <dgm:pt modelId="{14E3AF97-DC86-4C56-BDA7-2AA70009EE8E}" type="sibTrans" cxnId="{2F381652-AF35-4DCD-8685-F92F20B759B8}">
      <dgm:prSet/>
      <dgm:spPr/>
      <dgm:t>
        <a:bodyPr/>
        <a:lstStyle/>
        <a:p>
          <a:endParaRPr lang="en-US"/>
        </a:p>
      </dgm:t>
    </dgm:pt>
    <dgm:pt modelId="{7A4DB998-43B2-4076-AF88-C7F806C174D1}">
      <dgm:prSet phldrT="[Text]"/>
      <dgm:spPr/>
      <dgm:t>
        <a:bodyPr/>
        <a:lstStyle/>
        <a:p>
          <a:endParaRPr lang="en-US" dirty="0"/>
        </a:p>
      </dgm:t>
    </dgm:pt>
    <dgm:pt modelId="{2CA070AB-3E7F-4559-88AE-CB077118134C}" type="parTrans" cxnId="{096EEA3C-4DB6-4521-A670-1E2DE33DB40D}">
      <dgm:prSet/>
      <dgm:spPr/>
      <dgm:t>
        <a:bodyPr/>
        <a:lstStyle/>
        <a:p>
          <a:endParaRPr lang="en-US"/>
        </a:p>
      </dgm:t>
    </dgm:pt>
    <dgm:pt modelId="{4B108774-7FBB-4F2C-881A-EF9DAFD77987}" type="sibTrans" cxnId="{096EEA3C-4DB6-4521-A670-1E2DE33DB40D}">
      <dgm:prSet/>
      <dgm:spPr/>
      <dgm:t>
        <a:bodyPr/>
        <a:lstStyle/>
        <a:p>
          <a:endParaRPr lang="en-US"/>
        </a:p>
      </dgm:t>
    </dgm:pt>
    <dgm:pt modelId="{48248C45-91C9-4EB4-8C0B-6EAA06C7F1C3}">
      <dgm:prSet phldrT="[Text]"/>
      <dgm:spPr/>
      <dgm:t>
        <a:bodyPr/>
        <a:lstStyle/>
        <a:p>
          <a:r>
            <a:rPr lang="zh-CN" altLang="en-US" dirty="0"/>
            <a:t>通过</a:t>
          </a:r>
          <a:r>
            <a:rPr lang="en-US" altLang="zh-CN" dirty="0" err="1"/>
            <a:t>usecase</a:t>
          </a:r>
          <a:r>
            <a:rPr lang="en-US" altLang="zh-CN" dirty="0"/>
            <a:t> </a:t>
          </a:r>
          <a:r>
            <a:rPr lang="zh-CN" altLang="en-US" dirty="0"/>
            <a:t>和可行性分析明确在线解码的 必要性与可行性的前提下，实现基本接口在线解码，为各类应用提供数据支撑</a:t>
          </a:r>
          <a:endParaRPr lang="en-US" dirty="0"/>
        </a:p>
      </dgm:t>
    </dgm:pt>
    <dgm:pt modelId="{99D5AE66-47FE-4287-B2B2-613BFCE8AAB5}" type="parTrans" cxnId="{3ABCE5FE-6697-4275-B9D6-795B5122EA06}">
      <dgm:prSet/>
      <dgm:spPr/>
      <dgm:t>
        <a:bodyPr/>
        <a:lstStyle/>
        <a:p>
          <a:endParaRPr lang="en-US"/>
        </a:p>
      </dgm:t>
    </dgm:pt>
    <dgm:pt modelId="{72FA396A-6CEA-4747-9DEB-8824733B47A1}" type="sibTrans" cxnId="{3ABCE5FE-6697-4275-B9D6-795B5122EA06}">
      <dgm:prSet/>
      <dgm:spPr/>
      <dgm:t>
        <a:bodyPr/>
        <a:lstStyle/>
        <a:p>
          <a:endParaRPr lang="en-US"/>
        </a:p>
      </dgm:t>
    </dgm:pt>
    <dgm:pt modelId="{3221DAA7-3CD3-452B-B59D-5277CC6E42A7}">
      <dgm:prSet phldrT="[Text]"/>
      <dgm:spPr/>
      <dgm:t>
        <a:bodyPr/>
        <a:lstStyle/>
        <a:p>
          <a:endParaRPr lang="en-US" dirty="0"/>
        </a:p>
      </dgm:t>
    </dgm:pt>
    <dgm:pt modelId="{D3823DE4-DBA6-4B78-A8AA-2C52423A45CF}" type="parTrans" cxnId="{097EDF00-F98D-43CE-BB32-DCB6F60E7745}">
      <dgm:prSet/>
      <dgm:spPr/>
      <dgm:t>
        <a:bodyPr/>
        <a:lstStyle/>
        <a:p>
          <a:endParaRPr lang="en-US"/>
        </a:p>
      </dgm:t>
    </dgm:pt>
    <dgm:pt modelId="{4923EBB4-AF1B-4A5C-8720-943B2E7E8E22}" type="sibTrans" cxnId="{097EDF00-F98D-43CE-BB32-DCB6F60E7745}">
      <dgm:prSet/>
      <dgm:spPr/>
      <dgm:t>
        <a:bodyPr/>
        <a:lstStyle/>
        <a:p>
          <a:endParaRPr lang="en-US"/>
        </a:p>
      </dgm:t>
    </dgm:pt>
    <dgm:pt modelId="{B75DD2A6-F554-411B-A62B-9A7CB5EDEF50}">
      <dgm:prSet phldrT="[Text]"/>
      <dgm:spPr/>
      <dgm:t>
        <a:bodyPr/>
        <a:lstStyle/>
        <a:p>
          <a:r>
            <a:rPr lang="zh-CN" altLang="en-US" dirty="0"/>
            <a:t>在</a:t>
          </a:r>
          <a:r>
            <a:rPr lang="en-US" altLang="zh-CN" dirty="0"/>
            <a:t>SA </a:t>
          </a:r>
          <a:r>
            <a:rPr lang="zh-CN" altLang="en-US" dirty="0"/>
            <a:t>部署初期阶段有效协助客户输出相关报表</a:t>
          </a:r>
          <a:endParaRPr lang="en-US" dirty="0"/>
        </a:p>
      </dgm:t>
    </dgm:pt>
    <dgm:pt modelId="{8B5255DE-6A3B-4324-ABC7-F4827434A93E}" type="parTrans" cxnId="{C060F186-BE08-487D-8224-871F0C02EA15}">
      <dgm:prSet/>
      <dgm:spPr/>
      <dgm:t>
        <a:bodyPr/>
        <a:lstStyle/>
        <a:p>
          <a:endParaRPr lang="en-US"/>
        </a:p>
      </dgm:t>
    </dgm:pt>
    <dgm:pt modelId="{B2612727-8CE5-4C39-A414-B81D0EC7EFC8}" type="sibTrans" cxnId="{C060F186-BE08-487D-8224-871F0C02EA15}">
      <dgm:prSet/>
      <dgm:spPr/>
      <dgm:t>
        <a:bodyPr/>
        <a:lstStyle/>
        <a:p>
          <a:endParaRPr lang="en-US"/>
        </a:p>
      </dgm:t>
    </dgm:pt>
    <dgm:pt modelId="{87F49528-48EA-47C5-8A55-4D3F4DB3B5CB}">
      <dgm:prSet phldrT="[Text]"/>
      <dgm:spPr/>
      <dgm:t>
        <a:bodyPr/>
        <a:lstStyle/>
        <a:p>
          <a:r>
            <a:rPr lang="zh-CN" altLang="en-US" dirty="0"/>
            <a:t>为后续</a:t>
          </a:r>
          <a:r>
            <a:rPr lang="en-US" altLang="zh-CN" dirty="0"/>
            <a:t>5G</a:t>
          </a:r>
          <a:r>
            <a:rPr lang="zh-CN" altLang="en-US" dirty="0"/>
            <a:t>监控分析应用打基础</a:t>
          </a:r>
          <a:endParaRPr lang="en-US" dirty="0"/>
        </a:p>
      </dgm:t>
    </dgm:pt>
    <dgm:pt modelId="{B18F5647-11F6-43B5-BAF4-D6836654B2E9}" type="parTrans" cxnId="{6B3C1330-976A-40AD-96B1-462B4084CDEF}">
      <dgm:prSet/>
      <dgm:spPr/>
      <dgm:t>
        <a:bodyPr/>
        <a:lstStyle/>
        <a:p>
          <a:endParaRPr lang="en-US"/>
        </a:p>
      </dgm:t>
    </dgm:pt>
    <dgm:pt modelId="{FE75D2E2-1B92-4B8E-A38D-FE052A7986ED}" type="sibTrans" cxnId="{6B3C1330-976A-40AD-96B1-462B4084CDEF}">
      <dgm:prSet/>
      <dgm:spPr/>
      <dgm:t>
        <a:bodyPr/>
        <a:lstStyle/>
        <a:p>
          <a:endParaRPr lang="en-US"/>
        </a:p>
      </dgm:t>
    </dgm:pt>
    <dgm:pt modelId="{5E3C20E9-B4E9-49A6-A93E-FB3AC830DFC2}">
      <dgm:prSet phldrT="[Text]"/>
      <dgm:spPr/>
      <dgm:t>
        <a:bodyPr/>
        <a:lstStyle/>
        <a:p>
          <a:r>
            <a:rPr lang="en-US" dirty="0"/>
            <a:t> </a:t>
          </a:r>
          <a:r>
            <a:rPr lang="en-US" dirty="0" err="1"/>
            <a:t>基于</a:t>
          </a:r>
          <a:r>
            <a:rPr lang="en-US" altLang="zh-CN" dirty="0" err="1"/>
            <a:t>MVP</a:t>
          </a:r>
          <a:r>
            <a:rPr lang="zh-CN" altLang="en-US" dirty="0"/>
            <a:t>思想先最小实现，作为可行性分析“原型”</a:t>
          </a:r>
          <a:endParaRPr lang="en-US" dirty="0"/>
        </a:p>
      </dgm:t>
    </dgm:pt>
    <dgm:pt modelId="{5B930E37-7800-48BE-86B4-CF59C53916DA}" type="parTrans" cxnId="{8149D94F-7682-49E5-B264-17D05A498A30}">
      <dgm:prSet/>
      <dgm:spPr/>
      <dgm:t>
        <a:bodyPr/>
        <a:lstStyle/>
        <a:p>
          <a:endParaRPr lang="en-US"/>
        </a:p>
      </dgm:t>
    </dgm:pt>
    <dgm:pt modelId="{AC8DF1CA-C165-4F90-8602-CB4C26B12070}" type="sibTrans" cxnId="{8149D94F-7682-49E5-B264-17D05A498A30}">
      <dgm:prSet/>
      <dgm:spPr/>
      <dgm:t>
        <a:bodyPr/>
        <a:lstStyle/>
        <a:p>
          <a:endParaRPr lang="en-US"/>
        </a:p>
      </dgm:t>
    </dgm:pt>
    <dgm:pt modelId="{A398B185-55A3-40D1-B423-70AEF6ED7F6D}" type="pres">
      <dgm:prSet presAssocID="{3755F1FA-C8A3-4955-A333-BCECBCA4BFFD}" presName="Name0" presStyleCnt="0">
        <dgm:presLayoutVars>
          <dgm:dir/>
          <dgm:animLvl val="lvl"/>
          <dgm:resizeHandles val="exact"/>
        </dgm:presLayoutVars>
      </dgm:prSet>
      <dgm:spPr/>
    </dgm:pt>
    <dgm:pt modelId="{B97CD3AD-304A-48E8-A75C-A88339E8A0C9}" type="pres">
      <dgm:prSet presAssocID="{3755F1FA-C8A3-4955-A333-BCECBCA4BFFD}" presName="tSp" presStyleCnt="0"/>
      <dgm:spPr/>
    </dgm:pt>
    <dgm:pt modelId="{52810BD8-9993-43FF-97E2-AE66E6D47B11}" type="pres">
      <dgm:prSet presAssocID="{3755F1FA-C8A3-4955-A333-BCECBCA4BFFD}" presName="bSp" presStyleCnt="0"/>
      <dgm:spPr/>
    </dgm:pt>
    <dgm:pt modelId="{2D6E9111-821D-4D22-8C4F-DC7415DD6FE0}" type="pres">
      <dgm:prSet presAssocID="{3755F1FA-C8A3-4955-A333-BCECBCA4BFFD}" presName="process" presStyleCnt="0"/>
      <dgm:spPr/>
    </dgm:pt>
    <dgm:pt modelId="{625CE783-2B52-40BC-9BAE-A6F53418D378}" type="pres">
      <dgm:prSet presAssocID="{567736B0-A66A-4DF6-AA83-F2C550EF4028}" presName="composite1" presStyleCnt="0"/>
      <dgm:spPr/>
    </dgm:pt>
    <dgm:pt modelId="{BA6520BA-6414-4502-818D-E64F8283585F}" type="pres">
      <dgm:prSet presAssocID="{567736B0-A66A-4DF6-AA83-F2C550EF4028}" presName="dummyNode1" presStyleLbl="node1" presStyleIdx="0" presStyleCnt="3"/>
      <dgm:spPr/>
    </dgm:pt>
    <dgm:pt modelId="{7F122625-2D59-440E-92B9-7C119A205038}" type="pres">
      <dgm:prSet presAssocID="{567736B0-A66A-4DF6-AA83-F2C550EF4028}" presName="childNode1" presStyleLbl="bgAcc1" presStyleIdx="0" presStyleCnt="3">
        <dgm:presLayoutVars>
          <dgm:bulletEnabled val="1"/>
        </dgm:presLayoutVars>
      </dgm:prSet>
      <dgm:spPr/>
    </dgm:pt>
    <dgm:pt modelId="{AB5BD8CB-1A60-4987-827F-C12D47805D89}" type="pres">
      <dgm:prSet presAssocID="{567736B0-A66A-4DF6-AA83-F2C550EF4028}" presName="childNode1tx" presStyleLbl="bgAcc1" presStyleIdx="0" presStyleCnt="3">
        <dgm:presLayoutVars>
          <dgm:bulletEnabled val="1"/>
        </dgm:presLayoutVars>
      </dgm:prSet>
      <dgm:spPr/>
    </dgm:pt>
    <dgm:pt modelId="{2208B837-FDD8-4E94-8583-F44BC3DF0377}" type="pres">
      <dgm:prSet presAssocID="{567736B0-A66A-4DF6-AA83-F2C550EF4028}" presName="parentNode1" presStyleLbl="node1" presStyleIdx="0" presStyleCnt="3">
        <dgm:presLayoutVars>
          <dgm:chMax val="1"/>
          <dgm:bulletEnabled val="1"/>
        </dgm:presLayoutVars>
      </dgm:prSet>
      <dgm:spPr/>
    </dgm:pt>
    <dgm:pt modelId="{0138C707-715B-4209-A14E-6879FCE14485}" type="pres">
      <dgm:prSet presAssocID="{567736B0-A66A-4DF6-AA83-F2C550EF4028}" presName="connSite1" presStyleCnt="0"/>
      <dgm:spPr/>
    </dgm:pt>
    <dgm:pt modelId="{62F70D3F-207E-4891-8F0E-BE29D046D5C1}" type="pres">
      <dgm:prSet presAssocID="{0033DD06-1F8E-4916-BC07-DA9A544719E1}" presName="Name9" presStyleLbl="sibTrans2D1" presStyleIdx="0" presStyleCnt="2"/>
      <dgm:spPr/>
    </dgm:pt>
    <dgm:pt modelId="{E27D7075-D0A3-4F4B-9F93-28C9F78EABF8}" type="pres">
      <dgm:prSet presAssocID="{61D49A05-EACD-41A7-8D1B-435038C41FAB}" presName="composite2" presStyleCnt="0"/>
      <dgm:spPr/>
    </dgm:pt>
    <dgm:pt modelId="{BC5E93A1-EEAA-4AE0-801F-15F4BF11F6C5}" type="pres">
      <dgm:prSet presAssocID="{61D49A05-EACD-41A7-8D1B-435038C41FAB}" presName="dummyNode2" presStyleLbl="node1" presStyleIdx="0" presStyleCnt="3"/>
      <dgm:spPr/>
    </dgm:pt>
    <dgm:pt modelId="{F69BEA16-94A8-415A-B2AA-6F7A80E6162B}" type="pres">
      <dgm:prSet presAssocID="{61D49A05-EACD-41A7-8D1B-435038C41FAB}" presName="childNode2" presStyleLbl="bgAcc1" presStyleIdx="1" presStyleCnt="3">
        <dgm:presLayoutVars>
          <dgm:bulletEnabled val="1"/>
        </dgm:presLayoutVars>
      </dgm:prSet>
      <dgm:spPr/>
    </dgm:pt>
    <dgm:pt modelId="{C26C440F-4304-4914-8437-AFDD24661975}" type="pres">
      <dgm:prSet presAssocID="{61D49A05-EACD-41A7-8D1B-435038C41FAB}" presName="childNode2tx" presStyleLbl="bgAcc1" presStyleIdx="1" presStyleCnt="3">
        <dgm:presLayoutVars>
          <dgm:bulletEnabled val="1"/>
        </dgm:presLayoutVars>
      </dgm:prSet>
      <dgm:spPr/>
    </dgm:pt>
    <dgm:pt modelId="{71BA87B4-9B0C-4E31-8211-241A3E416C5C}" type="pres">
      <dgm:prSet presAssocID="{61D49A05-EACD-41A7-8D1B-435038C41FAB}" presName="parentNode2" presStyleLbl="node1" presStyleIdx="1" presStyleCnt="3">
        <dgm:presLayoutVars>
          <dgm:chMax val="0"/>
          <dgm:bulletEnabled val="1"/>
        </dgm:presLayoutVars>
      </dgm:prSet>
      <dgm:spPr/>
    </dgm:pt>
    <dgm:pt modelId="{4D1F28EC-E980-47DB-AC65-4185CC851058}" type="pres">
      <dgm:prSet presAssocID="{61D49A05-EACD-41A7-8D1B-435038C41FAB}" presName="connSite2" presStyleCnt="0"/>
      <dgm:spPr/>
    </dgm:pt>
    <dgm:pt modelId="{8EFA9269-C23C-4BE4-B7AB-8517C033AB5C}" type="pres">
      <dgm:prSet presAssocID="{A7631F48-909E-4805-9D24-539BE01F7C24}" presName="Name18" presStyleLbl="sibTrans2D1" presStyleIdx="1" presStyleCnt="2"/>
      <dgm:spPr/>
    </dgm:pt>
    <dgm:pt modelId="{C52EE084-3F70-4DD7-9F1A-487044F9120F}" type="pres">
      <dgm:prSet presAssocID="{4E4C8D72-117A-48C1-AE00-C6BB1E0848F8}" presName="composite1" presStyleCnt="0"/>
      <dgm:spPr/>
    </dgm:pt>
    <dgm:pt modelId="{A81E292D-3401-4AD5-B841-ADB7E1E6DE2F}" type="pres">
      <dgm:prSet presAssocID="{4E4C8D72-117A-48C1-AE00-C6BB1E0848F8}" presName="dummyNode1" presStyleLbl="node1" presStyleIdx="1" presStyleCnt="3"/>
      <dgm:spPr/>
    </dgm:pt>
    <dgm:pt modelId="{503461A4-D954-4026-8E9C-1B0562DF936F}" type="pres">
      <dgm:prSet presAssocID="{4E4C8D72-117A-48C1-AE00-C6BB1E0848F8}" presName="childNode1" presStyleLbl="bgAcc1" presStyleIdx="2" presStyleCnt="3">
        <dgm:presLayoutVars>
          <dgm:bulletEnabled val="1"/>
        </dgm:presLayoutVars>
      </dgm:prSet>
      <dgm:spPr/>
    </dgm:pt>
    <dgm:pt modelId="{3396A6DD-382D-44D6-9202-8AF2AB77FE23}" type="pres">
      <dgm:prSet presAssocID="{4E4C8D72-117A-48C1-AE00-C6BB1E0848F8}" presName="childNode1tx" presStyleLbl="bgAcc1" presStyleIdx="2" presStyleCnt="3">
        <dgm:presLayoutVars>
          <dgm:bulletEnabled val="1"/>
        </dgm:presLayoutVars>
      </dgm:prSet>
      <dgm:spPr/>
    </dgm:pt>
    <dgm:pt modelId="{4BC0A50F-EE1D-4CB2-A914-428CC95B0DAD}" type="pres">
      <dgm:prSet presAssocID="{4E4C8D72-117A-48C1-AE00-C6BB1E0848F8}" presName="parentNode1" presStyleLbl="node1" presStyleIdx="2" presStyleCnt="3">
        <dgm:presLayoutVars>
          <dgm:chMax val="1"/>
          <dgm:bulletEnabled val="1"/>
        </dgm:presLayoutVars>
      </dgm:prSet>
      <dgm:spPr/>
    </dgm:pt>
    <dgm:pt modelId="{0D328868-2E14-4AC3-916F-0ED6E37F5566}" type="pres">
      <dgm:prSet presAssocID="{4E4C8D72-117A-48C1-AE00-C6BB1E0848F8}" presName="connSite1" presStyleCnt="0"/>
      <dgm:spPr/>
    </dgm:pt>
  </dgm:ptLst>
  <dgm:cxnLst>
    <dgm:cxn modelId="{097EDF00-F98D-43CE-BB32-DCB6F60E7745}" srcId="{567736B0-A66A-4DF6-AA83-F2C550EF4028}" destId="{3221DAA7-3CD3-452B-B59D-5277CC6E42A7}" srcOrd="3" destOrd="0" parTransId="{D3823DE4-DBA6-4B78-A8AA-2C52423A45CF}" sibTransId="{4923EBB4-AF1B-4A5C-8720-943B2E7E8E22}"/>
    <dgm:cxn modelId="{B49EC901-C4DE-4EE4-B891-91BD1AE345CE}" type="presOf" srcId="{4E4C8D72-117A-48C1-AE00-C6BB1E0848F8}" destId="{4BC0A50F-EE1D-4CB2-A914-428CC95B0DAD}" srcOrd="0" destOrd="0" presId="urn:microsoft.com/office/officeart/2005/8/layout/hProcess4"/>
    <dgm:cxn modelId="{70AD8B0F-A607-4C8B-9FE3-F153CC4897C2}" type="presOf" srcId="{B75DD2A6-F554-411B-A62B-9A7CB5EDEF50}" destId="{AB5BD8CB-1A60-4987-827F-C12D47805D89}" srcOrd="1" destOrd="1" presId="urn:microsoft.com/office/officeart/2005/8/layout/hProcess4"/>
    <dgm:cxn modelId="{16496423-C304-4FFB-82FD-5075E7426D8E}" type="presOf" srcId="{AD7D4B33-43FA-4DDE-BC51-F3B91FFED518}" destId="{AB5BD8CB-1A60-4987-827F-C12D47805D89}" srcOrd="1" destOrd="0" presId="urn:microsoft.com/office/officeart/2005/8/layout/hProcess4"/>
    <dgm:cxn modelId="{6B3C1330-976A-40AD-96B1-462B4084CDEF}" srcId="{61D49A05-EACD-41A7-8D1B-435038C41FAB}" destId="{87F49528-48EA-47C5-8A55-4D3F4DB3B5CB}" srcOrd="2" destOrd="0" parTransId="{B18F5647-11F6-43B5-BAF4-D6836654B2E9}" sibTransId="{FE75D2E2-1B92-4B8E-A38D-FE052A7986ED}"/>
    <dgm:cxn modelId="{1732AD30-6C6D-413C-B6A7-3A1F29BD25B6}" type="presOf" srcId="{5E3C20E9-B4E9-49A6-A93E-FB3AC830DFC2}" destId="{7F122625-2D59-440E-92B9-7C119A205038}" srcOrd="0" destOrd="2" presId="urn:microsoft.com/office/officeart/2005/8/layout/hProcess4"/>
    <dgm:cxn modelId="{E3947137-4F96-434C-BD13-539A44D6B602}" type="presOf" srcId="{FDD5DA13-2F57-4E30-84CD-F3204EFE5C72}" destId="{C26C440F-4304-4914-8437-AFDD24661975}" srcOrd="1" destOrd="0" presId="urn:microsoft.com/office/officeart/2005/8/layout/hProcess4"/>
    <dgm:cxn modelId="{C5EEB43C-8506-424F-BB77-7D55B9A47F7C}" type="presOf" srcId="{87F49528-48EA-47C5-8A55-4D3F4DB3B5CB}" destId="{F69BEA16-94A8-415A-B2AA-6F7A80E6162B}" srcOrd="0" destOrd="2" presId="urn:microsoft.com/office/officeart/2005/8/layout/hProcess4"/>
    <dgm:cxn modelId="{096EEA3C-4DB6-4521-A670-1E2DE33DB40D}" srcId="{4E4C8D72-117A-48C1-AE00-C6BB1E0848F8}" destId="{7A4DB998-43B2-4076-AF88-C7F806C174D1}" srcOrd="0" destOrd="0" parTransId="{2CA070AB-3E7F-4559-88AE-CB077118134C}" sibTransId="{4B108774-7FBB-4F2C-881A-EF9DAFD77987}"/>
    <dgm:cxn modelId="{49DBF440-391A-4077-B264-54495425C182}" srcId="{567736B0-A66A-4DF6-AA83-F2C550EF4028}" destId="{AD7D4B33-43FA-4DDE-BC51-F3B91FFED518}" srcOrd="0" destOrd="0" parTransId="{429BB005-51A6-4216-BBB8-EE452FD08F53}" sibTransId="{D049591F-12B1-4147-8CD0-715F0E970935}"/>
    <dgm:cxn modelId="{9FA0334B-E65C-4528-BF6B-D67E0B742BAB}" srcId="{61D49A05-EACD-41A7-8D1B-435038C41FAB}" destId="{3A30EC2B-D378-49EA-95C9-FF6B34CC2F2E}" srcOrd="1" destOrd="0" parTransId="{C83803CF-1985-4859-A78B-DA6742EEE98F}" sibTransId="{2BBF741A-D071-4735-B7D7-DDD400310297}"/>
    <dgm:cxn modelId="{91D03F4C-8053-4C90-840B-55DFFA7BEDFC}" type="presOf" srcId="{3A30EC2B-D378-49EA-95C9-FF6B34CC2F2E}" destId="{C26C440F-4304-4914-8437-AFDD24661975}" srcOrd="1" destOrd="1" presId="urn:microsoft.com/office/officeart/2005/8/layout/hProcess4"/>
    <dgm:cxn modelId="{8149D94F-7682-49E5-B264-17D05A498A30}" srcId="{567736B0-A66A-4DF6-AA83-F2C550EF4028}" destId="{5E3C20E9-B4E9-49A6-A93E-FB3AC830DFC2}" srcOrd="2" destOrd="0" parTransId="{5B930E37-7800-48BE-86B4-CF59C53916DA}" sibTransId="{AC8DF1CA-C165-4F90-8602-CB4C26B12070}"/>
    <dgm:cxn modelId="{2F381652-AF35-4DCD-8685-F92F20B759B8}" srcId="{3755F1FA-C8A3-4955-A333-BCECBCA4BFFD}" destId="{4E4C8D72-117A-48C1-AE00-C6BB1E0848F8}" srcOrd="2" destOrd="0" parTransId="{BD5D0714-E038-4D72-B5FD-B8BC1663750F}" sibTransId="{14E3AF97-DC86-4C56-BDA7-2AA70009EE8E}"/>
    <dgm:cxn modelId="{87E0E557-D436-40E4-82AF-0182167CD1F0}" type="presOf" srcId="{5E3C20E9-B4E9-49A6-A93E-FB3AC830DFC2}" destId="{AB5BD8CB-1A60-4987-827F-C12D47805D89}" srcOrd="1" destOrd="2" presId="urn:microsoft.com/office/officeart/2005/8/layout/hProcess4"/>
    <dgm:cxn modelId="{0C87695D-0F2C-4483-AC91-2CDF0E2B2A1B}" type="presOf" srcId="{87F49528-48EA-47C5-8A55-4D3F4DB3B5CB}" destId="{C26C440F-4304-4914-8437-AFDD24661975}" srcOrd="1" destOrd="2" presId="urn:microsoft.com/office/officeart/2005/8/layout/hProcess4"/>
    <dgm:cxn modelId="{65C82476-931A-4121-AA8E-3D32DF59FA72}" type="presOf" srcId="{0033DD06-1F8E-4916-BC07-DA9A544719E1}" destId="{62F70D3F-207E-4891-8F0E-BE29D046D5C1}" srcOrd="0" destOrd="0" presId="urn:microsoft.com/office/officeart/2005/8/layout/hProcess4"/>
    <dgm:cxn modelId="{C060F186-BE08-487D-8224-871F0C02EA15}" srcId="{567736B0-A66A-4DF6-AA83-F2C550EF4028}" destId="{B75DD2A6-F554-411B-A62B-9A7CB5EDEF50}" srcOrd="1" destOrd="0" parTransId="{8B5255DE-6A3B-4324-ABC7-F4827434A93E}" sibTransId="{B2612727-8CE5-4C39-A414-B81D0EC7EFC8}"/>
    <dgm:cxn modelId="{ACBC7189-5BA9-4FD5-9DCC-58ECA39C7EEE}" type="presOf" srcId="{B75DD2A6-F554-411B-A62B-9A7CB5EDEF50}" destId="{7F122625-2D59-440E-92B9-7C119A205038}" srcOrd="0" destOrd="1" presId="urn:microsoft.com/office/officeart/2005/8/layout/hProcess4"/>
    <dgm:cxn modelId="{5D04F996-9413-4A22-AA1E-FF936262E102}" type="presOf" srcId="{A7631F48-909E-4805-9D24-539BE01F7C24}" destId="{8EFA9269-C23C-4BE4-B7AB-8517C033AB5C}" srcOrd="0" destOrd="0" presId="urn:microsoft.com/office/officeart/2005/8/layout/hProcess4"/>
    <dgm:cxn modelId="{2B85AC98-2E67-4F82-B1A8-DEDB55A11CEC}" type="presOf" srcId="{AD7D4B33-43FA-4DDE-BC51-F3B91FFED518}" destId="{7F122625-2D59-440E-92B9-7C119A205038}" srcOrd="0" destOrd="0" presId="urn:microsoft.com/office/officeart/2005/8/layout/hProcess4"/>
    <dgm:cxn modelId="{1C405F9D-8A95-424D-AB53-9A242389C561}" srcId="{61D49A05-EACD-41A7-8D1B-435038C41FAB}" destId="{FDD5DA13-2F57-4E30-84CD-F3204EFE5C72}" srcOrd="0" destOrd="0" parTransId="{289C9E82-3490-465D-B24E-372E6853C1BA}" sibTransId="{9EB94BBA-3653-48A1-BB35-44751D75791E}"/>
    <dgm:cxn modelId="{ED3027A1-BEC1-4D23-90CB-97BA70272D8A}" type="presOf" srcId="{FDD5DA13-2F57-4E30-84CD-F3204EFE5C72}" destId="{F69BEA16-94A8-415A-B2AA-6F7A80E6162B}" srcOrd="0" destOrd="0" presId="urn:microsoft.com/office/officeart/2005/8/layout/hProcess4"/>
    <dgm:cxn modelId="{FA182CB7-D740-45CE-B415-564E0505D36C}" type="presOf" srcId="{48248C45-91C9-4EB4-8C0B-6EAA06C7F1C3}" destId="{3396A6DD-382D-44D6-9202-8AF2AB77FE23}" srcOrd="1" destOrd="1" presId="urn:microsoft.com/office/officeart/2005/8/layout/hProcess4"/>
    <dgm:cxn modelId="{901D6ABB-178D-4EA4-9EB0-873159442155}" type="presOf" srcId="{7A4DB998-43B2-4076-AF88-C7F806C174D1}" destId="{3396A6DD-382D-44D6-9202-8AF2AB77FE23}" srcOrd="1" destOrd="0" presId="urn:microsoft.com/office/officeart/2005/8/layout/hProcess4"/>
    <dgm:cxn modelId="{416189C0-6082-4441-9007-996EAD492A21}" type="presOf" srcId="{61D49A05-EACD-41A7-8D1B-435038C41FAB}" destId="{71BA87B4-9B0C-4E31-8211-241A3E416C5C}" srcOrd="0" destOrd="0" presId="urn:microsoft.com/office/officeart/2005/8/layout/hProcess4"/>
    <dgm:cxn modelId="{3B9D36C1-3441-4693-940A-7633696851DD}" srcId="{3755F1FA-C8A3-4955-A333-BCECBCA4BFFD}" destId="{567736B0-A66A-4DF6-AA83-F2C550EF4028}" srcOrd="0" destOrd="0" parTransId="{E0FB01B5-7FE0-4328-8234-5862F3712D41}" sibTransId="{0033DD06-1F8E-4916-BC07-DA9A544719E1}"/>
    <dgm:cxn modelId="{F32677CD-3A13-4E90-BB75-5B9CA41DADD3}" type="presOf" srcId="{7A4DB998-43B2-4076-AF88-C7F806C174D1}" destId="{503461A4-D954-4026-8E9C-1B0562DF936F}" srcOrd="0" destOrd="0" presId="urn:microsoft.com/office/officeart/2005/8/layout/hProcess4"/>
    <dgm:cxn modelId="{934533CF-927C-4DF4-BEA9-A86F04AD840B}" type="presOf" srcId="{3A30EC2B-D378-49EA-95C9-FF6B34CC2F2E}" destId="{F69BEA16-94A8-415A-B2AA-6F7A80E6162B}" srcOrd="0" destOrd="1" presId="urn:microsoft.com/office/officeart/2005/8/layout/hProcess4"/>
    <dgm:cxn modelId="{E36A7FDA-C80C-4F35-9D8C-665F743759B0}" type="presOf" srcId="{48248C45-91C9-4EB4-8C0B-6EAA06C7F1C3}" destId="{503461A4-D954-4026-8E9C-1B0562DF936F}" srcOrd="0" destOrd="1" presId="urn:microsoft.com/office/officeart/2005/8/layout/hProcess4"/>
    <dgm:cxn modelId="{436B07E2-D90A-4EF1-8EE1-8EA72FBC0F08}" type="presOf" srcId="{567736B0-A66A-4DF6-AA83-F2C550EF4028}" destId="{2208B837-FDD8-4E94-8583-F44BC3DF0377}" srcOrd="0" destOrd="0" presId="urn:microsoft.com/office/officeart/2005/8/layout/hProcess4"/>
    <dgm:cxn modelId="{3A9EADE6-9081-4580-AC3E-1D2AA88BDE73}" srcId="{3755F1FA-C8A3-4955-A333-BCECBCA4BFFD}" destId="{61D49A05-EACD-41A7-8D1B-435038C41FAB}" srcOrd="1" destOrd="0" parTransId="{90D0FD18-AC45-4363-97A3-585BB386389D}" sibTransId="{A7631F48-909E-4805-9D24-539BE01F7C24}"/>
    <dgm:cxn modelId="{DDD93BE9-B3B8-4AD7-B072-F2BA3DC7C6CC}" type="presOf" srcId="{3221DAA7-3CD3-452B-B59D-5277CC6E42A7}" destId="{7F122625-2D59-440E-92B9-7C119A205038}" srcOrd="0" destOrd="3" presId="urn:microsoft.com/office/officeart/2005/8/layout/hProcess4"/>
    <dgm:cxn modelId="{B19DBEED-E3E4-420D-9666-465FF8E71132}" type="presOf" srcId="{3755F1FA-C8A3-4955-A333-BCECBCA4BFFD}" destId="{A398B185-55A3-40D1-B423-70AEF6ED7F6D}" srcOrd="0" destOrd="0" presId="urn:microsoft.com/office/officeart/2005/8/layout/hProcess4"/>
    <dgm:cxn modelId="{31ECF8F1-7F53-464E-AB56-6AE244F7778E}" type="presOf" srcId="{3221DAA7-3CD3-452B-B59D-5277CC6E42A7}" destId="{AB5BD8CB-1A60-4987-827F-C12D47805D89}" srcOrd="1" destOrd="3" presId="urn:microsoft.com/office/officeart/2005/8/layout/hProcess4"/>
    <dgm:cxn modelId="{3ABCE5FE-6697-4275-B9D6-795B5122EA06}" srcId="{4E4C8D72-117A-48C1-AE00-C6BB1E0848F8}" destId="{48248C45-91C9-4EB4-8C0B-6EAA06C7F1C3}" srcOrd="1" destOrd="0" parTransId="{99D5AE66-47FE-4287-B2B2-613BFCE8AAB5}" sibTransId="{72FA396A-6CEA-4747-9DEB-8824733B47A1}"/>
    <dgm:cxn modelId="{9075225D-BACB-444E-968F-DE7678F7355F}" type="presParOf" srcId="{A398B185-55A3-40D1-B423-70AEF6ED7F6D}" destId="{B97CD3AD-304A-48E8-A75C-A88339E8A0C9}" srcOrd="0" destOrd="0" presId="urn:microsoft.com/office/officeart/2005/8/layout/hProcess4"/>
    <dgm:cxn modelId="{40E81A87-AF71-4766-A99F-78321CE03F60}" type="presParOf" srcId="{A398B185-55A3-40D1-B423-70AEF6ED7F6D}" destId="{52810BD8-9993-43FF-97E2-AE66E6D47B11}" srcOrd="1" destOrd="0" presId="urn:microsoft.com/office/officeart/2005/8/layout/hProcess4"/>
    <dgm:cxn modelId="{2A2C6CDF-01D8-4472-ABEC-93F399B6E778}" type="presParOf" srcId="{A398B185-55A3-40D1-B423-70AEF6ED7F6D}" destId="{2D6E9111-821D-4D22-8C4F-DC7415DD6FE0}" srcOrd="2" destOrd="0" presId="urn:microsoft.com/office/officeart/2005/8/layout/hProcess4"/>
    <dgm:cxn modelId="{500FF146-D007-482E-A279-DFBC80CF7D25}" type="presParOf" srcId="{2D6E9111-821D-4D22-8C4F-DC7415DD6FE0}" destId="{625CE783-2B52-40BC-9BAE-A6F53418D378}" srcOrd="0" destOrd="0" presId="urn:microsoft.com/office/officeart/2005/8/layout/hProcess4"/>
    <dgm:cxn modelId="{3A64B595-5F61-4057-B6CF-C62AFEE990A8}" type="presParOf" srcId="{625CE783-2B52-40BC-9BAE-A6F53418D378}" destId="{BA6520BA-6414-4502-818D-E64F8283585F}" srcOrd="0" destOrd="0" presId="urn:microsoft.com/office/officeart/2005/8/layout/hProcess4"/>
    <dgm:cxn modelId="{85D298E5-26AB-44B5-B31F-3B294D553CD1}" type="presParOf" srcId="{625CE783-2B52-40BC-9BAE-A6F53418D378}" destId="{7F122625-2D59-440E-92B9-7C119A205038}" srcOrd="1" destOrd="0" presId="urn:microsoft.com/office/officeart/2005/8/layout/hProcess4"/>
    <dgm:cxn modelId="{19BB9535-464C-43C4-9387-0FF50D72DE3C}" type="presParOf" srcId="{625CE783-2B52-40BC-9BAE-A6F53418D378}" destId="{AB5BD8CB-1A60-4987-827F-C12D47805D89}" srcOrd="2" destOrd="0" presId="urn:microsoft.com/office/officeart/2005/8/layout/hProcess4"/>
    <dgm:cxn modelId="{6AEED804-D109-4436-8557-0E2B7B3E8D4A}" type="presParOf" srcId="{625CE783-2B52-40BC-9BAE-A6F53418D378}" destId="{2208B837-FDD8-4E94-8583-F44BC3DF0377}" srcOrd="3" destOrd="0" presId="urn:microsoft.com/office/officeart/2005/8/layout/hProcess4"/>
    <dgm:cxn modelId="{B71E0DAC-428B-42E8-B99B-5388DECE5A39}" type="presParOf" srcId="{625CE783-2B52-40BC-9BAE-A6F53418D378}" destId="{0138C707-715B-4209-A14E-6879FCE14485}" srcOrd="4" destOrd="0" presId="urn:microsoft.com/office/officeart/2005/8/layout/hProcess4"/>
    <dgm:cxn modelId="{E98C7CAD-F218-4738-A063-3EDABD1A1BE9}" type="presParOf" srcId="{2D6E9111-821D-4D22-8C4F-DC7415DD6FE0}" destId="{62F70D3F-207E-4891-8F0E-BE29D046D5C1}" srcOrd="1" destOrd="0" presId="urn:microsoft.com/office/officeart/2005/8/layout/hProcess4"/>
    <dgm:cxn modelId="{3B9D4DED-4923-4825-B0E0-244003FA65BA}" type="presParOf" srcId="{2D6E9111-821D-4D22-8C4F-DC7415DD6FE0}" destId="{E27D7075-D0A3-4F4B-9F93-28C9F78EABF8}" srcOrd="2" destOrd="0" presId="urn:microsoft.com/office/officeart/2005/8/layout/hProcess4"/>
    <dgm:cxn modelId="{9795952E-2175-4ACE-93C4-0537C4434E2E}" type="presParOf" srcId="{E27D7075-D0A3-4F4B-9F93-28C9F78EABF8}" destId="{BC5E93A1-EEAA-4AE0-801F-15F4BF11F6C5}" srcOrd="0" destOrd="0" presId="urn:microsoft.com/office/officeart/2005/8/layout/hProcess4"/>
    <dgm:cxn modelId="{F1A3BA43-8BF8-49A8-851B-02960EF9240D}" type="presParOf" srcId="{E27D7075-D0A3-4F4B-9F93-28C9F78EABF8}" destId="{F69BEA16-94A8-415A-B2AA-6F7A80E6162B}" srcOrd="1" destOrd="0" presId="urn:microsoft.com/office/officeart/2005/8/layout/hProcess4"/>
    <dgm:cxn modelId="{B238B2E8-5FDB-49DA-9BD8-A4C69DCD765B}" type="presParOf" srcId="{E27D7075-D0A3-4F4B-9F93-28C9F78EABF8}" destId="{C26C440F-4304-4914-8437-AFDD24661975}" srcOrd="2" destOrd="0" presId="urn:microsoft.com/office/officeart/2005/8/layout/hProcess4"/>
    <dgm:cxn modelId="{F816AFED-7F19-4B10-972E-662F546D478E}" type="presParOf" srcId="{E27D7075-D0A3-4F4B-9F93-28C9F78EABF8}" destId="{71BA87B4-9B0C-4E31-8211-241A3E416C5C}" srcOrd="3" destOrd="0" presId="urn:microsoft.com/office/officeart/2005/8/layout/hProcess4"/>
    <dgm:cxn modelId="{E7338465-094B-47E0-8170-F09EA38A0665}" type="presParOf" srcId="{E27D7075-D0A3-4F4B-9F93-28C9F78EABF8}" destId="{4D1F28EC-E980-47DB-AC65-4185CC851058}" srcOrd="4" destOrd="0" presId="urn:microsoft.com/office/officeart/2005/8/layout/hProcess4"/>
    <dgm:cxn modelId="{C6E95B99-8D35-4A00-8B9A-CDFB3D63D1D8}" type="presParOf" srcId="{2D6E9111-821D-4D22-8C4F-DC7415DD6FE0}" destId="{8EFA9269-C23C-4BE4-B7AB-8517C033AB5C}" srcOrd="3" destOrd="0" presId="urn:microsoft.com/office/officeart/2005/8/layout/hProcess4"/>
    <dgm:cxn modelId="{54FD4EEA-1D18-46BE-B7F0-DB9D83B89251}" type="presParOf" srcId="{2D6E9111-821D-4D22-8C4F-DC7415DD6FE0}" destId="{C52EE084-3F70-4DD7-9F1A-487044F9120F}" srcOrd="4" destOrd="0" presId="urn:microsoft.com/office/officeart/2005/8/layout/hProcess4"/>
    <dgm:cxn modelId="{BA406182-2FBC-4074-95A8-9684B7D49384}" type="presParOf" srcId="{C52EE084-3F70-4DD7-9F1A-487044F9120F}" destId="{A81E292D-3401-4AD5-B841-ADB7E1E6DE2F}" srcOrd="0" destOrd="0" presId="urn:microsoft.com/office/officeart/2005/8/layout/hProcess4"/>
    <dgm:cxn modelId="{7FD5C7F6-FF7B-47EE-A43D-C91A09607A62}" type="presParOf" srcId="{C52EE084-3F70-4DD7-9F1A-487044F9120F}" destId="{503461A4-D954-4026-8E9C-1B0562DF936F}" srcOrd="1" destOrd="0" presId="urn:microsoft.com/office/officeart/2005/8/layout/hProcess4"/>
    <dgm:cxn modelId="{33A2C397-2434-4C3C-B64A-5864CB3B456E}" type="presParOf" srcId="{C52EE084-3F70-4DD7-9F1A-487044F9120F}" destId="{3396A6DD-382D-44D6-9202-8AF2AB77FE23}" srcOrd="2" destOrd="0" presId="urn:microsoft.com/office/officeart/2005/8/layout/hProcess4"/>
    <dgm:cxn modelId="{45F1D5FF-D857-4FB0-8FB7-5B57E410C006}" type="presParOf" srcId="{C52EE084-3F70-4DD7-9F1A-487044F9120F}" destId="{4BC0A50F-EE1D-4CB2-A914-428CC95B0DAD}" srcOrd="3" destOrd="0" presId="urn:microsoft.com/office/officeart/2005/8/layout/hProcess4"/>
    <dgm:cxn modelId="{CF86A81C-101A-4264-A213-660E24857633}" type="presParOf" srcId="{C52EE084-3F70-4DD7-9F1A-487044F9120F}" destId="{0D328868-2E14-4AC3-916F-0ED6E37F5566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122625-2D59-440E-92B9-7C119A205038}">
      <dsp:nvSpPr>
        <dsp:cNvPr id="0" name=""/>
        <dsp:cNvSpPr/>
      </dsp:nvSpPr>
      <dsp:spPr>
        <a:xfrm>
          <a:off x="299" y="1628236"/>
          <a:ext cx="1715570" cy="14149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800" kern="1200" dirty="0"/>
            <a:t>统计类应用数据支撑</a:t>
          </a:r>
          <a:endParaRPr 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800" kern="1200" dirty="0"/>
            <a:t>在</a:t>
          </a:r>
          <a:r>
            <a:rPr lang="en-US" altLang="zh-CN" sz="800" kern="1200" dirty="0"/>
            <a:t>SA </a:t>
          </a:r>
          <a:r>
            <a:rPr lang="zh-CN" altLang="en-US" sz="800" kern="1200" dirty="0"/>
            <a:t>部署初期阶段有效协助客户输出相关报表</a:t>
          </a:r>
          <a:endParaRPr 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 </a:t>
          </a:r>
          <a:r>
            <a:rPr lang="en-US" sz="800" kern="1200" dirty="0" err="1"/>
            <a:t>基于</a:t>
          </a:r>
          <a:r>
            <a:rPr lang="en-US" altLang="zh-CN" sz="800" kern="1200" dirty="0" err="1"/>
            <a:t>MVP</a:t>
          </a:r>
          <a:r>
            <a:rPr lang="zh-CN" altLang="en-US" sz="800" kern="1200" dirty="0"/>
            <a:t>思想先最小实现，作为可行性分析“原型”</a:t>
          </a:r>
          <a:endParaRPr 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kern="1200" dirty="0"/>
        </a:p>
      </dsp:txBody>
      <dsp:txXfrm>
        <a:off x="32862" y="1660799"/>
        <a:ext cx="1650444" cy="1046649"/>
      </dsp:txXfrm>
    </dsp:sp>
    <dsp:sp modelId="{62F70D3F-207E-4891-8F0E-BE29D046D5C1}">
      <dsp:nvSpPr>
        <dsp:cNvPr id="0" name=""/>
        <dsp:cNvSpPr/>
      </dsp:nvSpPr>
      <dsp:spPr>
        <a:xfrm>
          <a:off x="993375" y="2069290"/>
          <a:ext cx="1738245" cy="1738245"/>
        </a:xfrm>
        <a:prstGeom prst="leftCircularArrow">
          <a:avLst>
            <a:gd name="adj1" fmla="val 2276"/>
            <a:gd name="adj2" fmla="val 274448"/>
            <a:gd name="adj3" fmla="val 2049959"/>
            <a:gd name="adj4" fmla="val 9024489"/>
            <a:gd name="adj5" fmla="val 2656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08B837-FDD8-4E94-8583-F44BC3DF0377}">
      <dsp:nvSpPr>
        <dsp:cNvPr id="0" name=""/>
        <dsp:cNvSpPr/>
      </dsp:nvSpPr>
      <dsp:spPr>
        <a:xfrm>
          <a:off x="381536" y="2740012"/>
          <a:ext cx="1524951" cy="606423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900" kern="1200" dirty="0"/>
            <a:t>STEP1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900" kern="1200" dirty="0"/>
            <a:t>N2/N3</a:t>
          </a:r>
          <a:r>
            <a:rPr lang="zh-CN" altLang="en-US" sz="900" kern="1200" dirty="0"/>
            <a:t>接口离线解码</a:t>
          </a:r>
          <a:endParaRPr lang="en-US" sz="900" kern="1200" dirty="0"/>
        </a:p>
      </dsp:txBody>
      <dsp:txXfrm>
        <a:off x="399298" y="2757774"/>
        <a:ext cx="1489427" cy="570899"/>
      </dsp:txXfrm>
    </dsp:sp>
    <dsp:sp modelId="{F69BEA16-94A8-415A-B2AA-6F7A80E6162B}">
      <dsp:nvSpPr>
        <dsp:cNvPr id="0" name=""/>
        <dsp:cNvSpPr/>
      </dsp:nvSpPr>
      <dsp:spPr>
        <a:xfrm>
          <a:off x="2094905" y="1628236"/>
          <a:ext cx="1715570" cy="14149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800" kern="1200" dirty="0"/>
            <a:t>流程类</a:t>
          </a:r>
          <a:r>
            <a:rPr lang="en-US" altLang="zh-CN" sz="800" kern="1200" dirty="0"/>
            <a:t>/</a:t>
          </a:r>
          <a:r>
            <a:rPr lang="zh-CN" altLang="en-US" sz="800" kern="1200" dirty="0"/>
            <a:t>用户类应用数据支撑</a:t>
          </a:r>
          <a:endParaRPr 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800" kern="1200" dirty="0"/>
            <a:t>故障定位数据支撑</a:t>
          </a:r>
          <a:endParaRPr 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800" kern="1200" dirty="0"/>
            <a:t>为后续</a:t>
          </a:r>
          <a:r>
            <a:rPr lang="en-US" altLang="zh-CN" sz="800" kern="1200" dirty="0"/>
            <a:t>5G</a:t>
          </a:r>
          <a:r>
            <a:rPr lang="zh-CN" altLang="en-US" sz="800" kern="1200" dirty="0"/>
            <a:t>监控分析应用打基础</a:t>
          </a:r>
          <a:endParaRPr lang="en-US" sz="800" kern="1200" dirty="0"/>
        </a:p>
      </dsp:txBody>
      <dsp:txXfrm>
        <a:off x="2127468" y="1964010"/>
        <a:ext cx="1650444" cy="1046649"/>
      </dsp:txXfrm>
    </dsp:sp>
    <dsp:sp modelId="{8EFA9269-C23C-4BE4-B7AB-8517C033AB5C}">
      <dsp:nvSpPr>
        <dsp:cNvPr id="0" name=""/>
        <dsp:cNvSpPr/>
      </dsp:nvSpPr>
      <dsp:spPr>
        <a:xfrm>
          <a:off x="3073685" y="808442"/>
          <a:ext cx="1957457" cy="1957457"/>
        </a:xfrm>
        <a:prstGeom prst="circularArrow">
          <a:avLst>
            <a:gd name="adj1" fmla="val 2021"/>
            <a:gd name="adj2" fmla="val 242291"/>
            <a:gd name="adj3" fmla="val 19582198"/>
            <a:gd name="adj4" fmla="val 12575511"/>
            <a:gd name="adj5" fmla="val 235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BA87B4-9B0C-4E31-8211-241A3E416C5C}">
      <dsp:nvSpPr>
        <dsp:cNvPr id="0" name=""/>
        <dsp:cNvSpPr/>
      </dsp:nvSpPr>
      <dsp:spPr>
        <a:xfrm>
          <a:off x="2476143" y="1325024"/>
          <a:ext cx="1524951" cy="60642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900" kern="1200" dirty="0"/>
            <a:t>STEP2</a:t>
          </a:r>
          <a:endParaRPr lang="en-US" sz="900" kern="1200" dirty="0"/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+N8,N10,N11,N14</a:t>
          </a:r>
          <a:r>
            <a:rPr lang="zh-CN" altLang="en-US" sz="900" kern="1200" dirty="0"/>
            <a:t>基本流程接口离线解码</a:t>
          </a:r>
          <a:endParaRPr lang="en-US" sz="900" kern="1200" dirty="0"/>
        </a:p>
      </dsp:txBody>
      <dsp:txXfrm>
        <a:off x="2493905" y="1342786"/>
        <a:ext cx="1489427" cy="570899"/>
      </dsp:txXfrm>
    </dsp:sp>
    <dsp:sp modelId="{503461A4-D954-4026-8E9C-1B0562DF936F}">
      <dsp:nvSpPr>
        <dsp:cNvPr id="0" name=""/>
        <dsp:cNvSpPr/>
      </dsp:nvSpPr>
      <dsp:spPr>
        <a:xfrm>
          <a:off x="4189511" y="1628236"/>
          <a:ext cx="1715570" cy="14149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800" kern="1200" dirty="0"/>
            <a:t>通过</a:t>
          </a:r>
          <a:r>
            <a:rPr lang="en-US" altLang="zh-CN" sz="800" kern="1200" dirty="0" err="1"/>
            <a:t>usecase</a:t>
          </a:r>
          <a:r>
            <a:rPr lang="en-US" altLang="zh-CN" sz="800" kern="1200" dirty="0"/>
            <a:t> </a:t>
          </a:r>
          <a:r>
            <a:rPr lang="zh-CN" altLang="en-US" sz="800" kern="1200" dirty="0"/>
            <a:t>和可行性分析明确在线解码的 必要性与可行性的前提下，实现基本接口在线解码，为各类应用提供数据支撑</a:t>
          </a:r>
          <a:endParaRPr lang="en-US" sz="800" kern="1200" dirty="0"/>
        </a:p>
      </dsp:txBody>
      <dsp:txXfrm>
        <a:off x="4222074" y="1660799"/>
        <a:ext cx="1650444" cy="1046649"/>
      </dsp:txXfrm>
    </dsp:sp>
    <dsp:sp modelId="{4BC0A50F-EE1D-4CB2-A914-428CC95B0DAD}">
      <dsp:nvSpPr>
        <dsp:cNvPr id="0" name=""/>
        <dsp:cNvSpPr/>
      </dsp:nvSpPr>
      <dsp:spPr>
        <a:xfrm>
          <a:off x="4570749" y="2740012"/>
          <a:ext cx="1524951" cy="60642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900" kern="1200" dirty="0"/>
            <a:t>STEP3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900" kern="1200" dirty="0"/>
            <a:t>基本流程接口在线解码</a:t>
          </a:r>
          <a:endParaRPr lang="en-US" sz="900" kern="1200" dirty="0"/>
        </a:p>
      </dsp:txBody>
      <dsp:txXfrm>
        <a:off x="4588511" y="2757774"/>
        <a:ext cx="1489427" cy="5708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BEB6329-DD82-4F74-83E7-77B7E72DA6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735AE7-39E0-42FC-9942-F21FA72150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81AD98-F626-4D45-A3E9-DE0E9DD71E8B}" type="datetimeFigureOut">
              <a:rPr lang="zh-CN" altLang="en-US" smtClean="0"/>
              <a:t>2019/9/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78C5A1-B62A-4510-9091-0968B33229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070303-FD3D-41AC-8541-0A8BBEC066B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A2B7B-01A0-432C-A6AD-93294C1A104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96594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0BA62C-177B-4D86-BB91-DDB0A9A93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4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2DE6B4CA-99E3-4372-AD04-08F215D690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5539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6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48627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8628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F1457B-0B40-42E2-B45B-7C9EB9864EAE}" type="slidenum">
              <a:rPr lang="zh-CN" altLang="en-US" smtClean="0"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75549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980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9.jpe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5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7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8.bin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2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3.bin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4.bin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1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6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7.bin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8.bin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3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3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4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4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5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5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3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1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5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0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0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50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5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5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090743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-23812"/>
            <a:ext cx="9187916" cy="516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ea typeface="ヒラギノ角ゴ Pro W3"/>
                <a:cs typeface="Arial" charset="0"/>
              </a:rPr>
              <a:t>© Nokia 2017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2779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10171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9891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16929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64497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600" y="280988"/>
            <a:ext cx="8308800" cy="3093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973689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7102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  <a:prstGeom prst="rect">
            <a:avLst/>
          </a:prstGeo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6464137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4702326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4326315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Nokia Internal Use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021338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9143998" cy="5143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ea typeface="ヒラギノ角ゴ Pro W3"/>
                <a:cs typeface="Arial" charset="0"/>
              </a:rPr>
              <a:t>© Nokia 2016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1591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9503032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2309036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3576000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1255251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0139759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857687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  <a:prstGeom prst="rect">
            <a:avLst/>
          </a:prstGeo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>
                <a:latin typeface="+mn-lt"/>
              </a:defRPr>
            </a:lvl1pPr>
            <a:lvl2pPr marL="230188" indent="0">
              <a:buNone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840817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3527999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1421833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369369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164028"/>
            <a:ext cx="8308800" cy="3476372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460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733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789" algn="l">
              <a:defRPr sz="1400">
                <a:solidFill>
                  <a:schemeClr val="tx2"/>
                </a:solidFill>
              </a:defRPr>
            </a:lvl2pPr>
            <a:lvl3pPr marL="691183" indent="-230394" algn="l">
              <a:defRPr sz="1200">
                <a:solidFill>
                  <a:schemeClr val="tx2"/>
                </a:solidFill>
              </a:defRPr>
            </a:lvl3pPr>
            <a:lvl4pPr marL="921577" algn="l">
              <a:defRPr sz="1000">
                <a:solidFill>
                  <a:schemeClr val="tx2"/>
                </a:solidFill>
              </a:defRPr>
            </a:lvl4pPr>
            <a:lvl5pPr marL="1151972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Nokia Internal Use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9336750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22228115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7003803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1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3484681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20203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6225672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58031698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769600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60333461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789" algn="l">
              <a:defRPr sz="1400">
                <a:solidFill>
                  <a:schemeClr val="tx2"/>
                </a:solidFill>
              </a:defRPr>
            </a:lvl2pPr>
            <a:lvl3pPr marL="691183" indent="-230394" algn="l">
              <a:defRPr sz="1200">
                <a:solidFill>
                  <a:schemeClr val="tx2"/>
                </a:solidFill>
              </a:defRPr>
            </a:lvl3pPr>
            <a:lvl4pPr marL="921577" algn="l">
              <a:defRPr sz="1000">
                <a:solidFill>
                  <a:schemeClr val="tx2"/>
                </a:solidFill>
              </a:defRPr>
            </a:lvl4pPr>
            <a:lvl5pPr marL="1151972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Nokia Internal Use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007370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 Blue - EXTERN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67200" y="3060000"/>
            <a:ext cx="8359200" cy="15768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bg1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bg1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sz="800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sz="600" dirty="0"/>
              <a:t>Eigh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48" y="36042"/>
            <a:ext cx="252575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9192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092371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76421894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1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95853849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36580685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6584756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3228556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28153060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6369192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Nokia Internal Use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1257597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6308467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  <a:lvl2pPr marL="460789">
              <a:defRPr sz="1400"/>
            </a:lvl2pPr>
            <a:lvl3pPr marL="691183" indent="-230394">
              <a:defRPr sz="1200"/>
            </a:lvl3pPr>
            <a:lvl4pPr marL="921577">
              <a:defRPr sz="1000"/>
            </a:lvl4pPr>
            <a:lvl5pPr marL="1151972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71022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63774279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42214869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9812404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1250293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9570623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70146685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3856165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789" algn="l">
              <a:defRPr sz="1400">
                <a:solidFill>
                  <a:schemeClr val="tx2"/>
                </a:solidFill>
              </a:defRPr>
            </a:lvl2pPr>
            <a:lvl3pPr marL="691183" indent="-230394" algn="l">
              <a:defRPr sz="1200">
                <a:solidFill>
                  <a:schemeClr val="tx2"/>
                </a:solidFill>
              </a:defRPr>
            </a:lvl3pPr>
            <a:lvl4pPr marL="921577" algn="l">
              <a:defRPr sz="1000">
                <a:solidFill>
                  <a:schemeClr val="tx2"/>
                </a:solidFill>
              </a:defRPr>
            </a:lvl4pPr>
            <a:lvl5pPr marL="1151972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Nokia Internal Use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4162831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387712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4354271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12659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1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3045954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01856047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4019522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789">
              <a:defRPr sz="1400">
                <a:solidFill>
                  <a:schemeClr val="tx2"/>
                </a:solidFill>
              </a:defRPr>
            </a:lvl2pPr>
            <a:lvl3pPr marL="691183" indent="-230394">
              <a:defRPr sz="1200">
                <a:solidFill>
                  <a:schemeClr val="tx2"/>
                </a:solidFill>
              </a:defRPr>
            </a:lvl3pPr>
            <a:lvl4pPr marL="921577">
              <a:defRPr sz="1000">
                <a:solidFill>
                  <a:schemeClr val="tx2"/>
                </a:solidFill>
              </a:defRPr>
            </a:lvl4pPr>
            <a:lvl5pPr marL="1151972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6270799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9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  <a:prstGeom prst="rect">
            <a:avLst/>
          </a:prstGeom>
        </p:spPr>
        <p:txBody>
          <a:bodyPr/>
          <a:lstStyle>
            <a:lvl1pPr marL="323992" indent="-323992">
              <a:buFont typeface="Arial" pitchFamily="34" charset="0"/>
              <a:buChar char="•"/>
              <a:tabLst/>
              <a:defRPr>
                <a:latin typeface="+mn-lt"/>
              </a:defRPr>
            </a:lvl1pPr>
            <a:lvl2pPr marL="230183" indent="0">
              <a:buNone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3682175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6851592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1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8361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24131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184966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86802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363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17191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61078074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81307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88001"/>
            <a:ext cx="8229600" cy="311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6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26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725128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27" name="AutoShape 3"/>
          <p:cNvSpPr>
            <a:spLocks noChangeAspect="1" noChangeArrowheads="1" noTextEdit="1"/>
          </p:cNvSpPr>
          <p:nvPr userDrawn="1"/>
        </p:nvSpPr>
        <p:spPr bwMode="auto">
          <a:xfrm>
            <a:off x="251558" y="4720829"/>
            <a:ext cx="9144000" cy="29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8A3B1071-102C-4A0E-9B7E-4F44BE5C3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D152C75-2C84-4B00-B3DB-B54A805FED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C46ED1-5948-422C-8D35-C9E3107E88AC}"/>
              </a:ext>
            </a:extLst>
          </p:cNvPr>
          <p:cNvCxnSpPr/>
          <p:nvPr userDrawn="1"/>
        </p:nvCxnSpPr>
        <p:spPr>
          <a:xfrm>
            <a:off x="0" y="4667974"/>
            <a:ext cx="9144000" cy="0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3E27F5D-23D8-41F3-96A1-1014C4FAF1DF}"/>
              </a:ext>
            </a:extLst>
          </p:cNvPr>
          <p:cNvSpPr txBox="1"/>
          <p:nvPr userDrawn="1"/>
        </p:nvSpPr>
        <p:spPr>
          <a:xfrm>
            <a:off x="3502349" y="4667974"/>
            <a:ext cx="1584903" cy="31468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R="0" algn="l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r>
              <a:rPr lang="en-US" altLang="zh-CN" sz="1100" dirty="0">
                <a:solidFill>
                  <a:schemeClr val="tx2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SReXperts 2017 • </a:t>
            </a:r>
            <a:r>
              <a:rPr lang="zh-CN" altLang="en-US" sz="1100" dirty="0">
                <a:solidFill>
                  <a:schemeClr val="tx2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北京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E6F3DD-A08B-469D-AC02-9FB3A69243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555" y="4613429"/>
            <a:ext cx="1607127" cy="4237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CEF49E9-97C5-4191-B2F9-6530414B9F02}"/>
              </a:ext>
            </a:extLst>
          </p:cNvPr>
          <p:cNvSpPr txBox="1"/>
          <p:nvPr userDrawn="1"/>
        </p:nvSpPr>
        <p:spPr>
          <a:xfrm>
            <a:off x="417600" y="4676351"/>
            <a:ext cx="35219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R="0" algn="l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fld id="{AF9FA011-C90E-4B18-B8D3-6DF04AAAD6DC}" type="slidenum">
              <a:rPr lang="zh-CN" altLang="en-US" sz="1400" smtClean="0">
                <a:solidFill>
                  <a:schemeClr val="tx2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pPr marR="0" algn="l" defTabSz="457189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</a:pPr>
              <a:t>‹#›</a:t>
            </a:fld>
            <a:endParaRPr lang="zh-CN" altLang="en-US" sz="1400" dirty="0">
              <a:solidFill>
                <a:schemeClr val="tx2"/>
              </a:solidFill>
              <a:latin typeface="+mn-lt"/>
              <a:ea typeface="Nokia Pure Text" panose="020B0503020202020204" pitchFamily="34" charset="0"/>
              <a:cs typeface="Nokia Pure Headline Light"/>
            </a:endParaRPr>
          </a:p>
        </p:txBody>
      </p:sp>
    </p:spTree>
    <p:extLst>
      <p:ext uri="{BB962C8B-B14F-4D97-AF65-F5344CB8AC3E}">
        <p14:creationId xmlns:p14="http://schemas.microsoft.com/office/powerpoint/2010/main" val="199567604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51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645546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68172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17468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9535644"/>
      </p:ext>
    </p:extLst>
  </p:cSld>
  <p:clrMapOvr>
    <a:masterClrMapping/>
  </p:clrMapOvr>
  <p:hf sldNum="0" hd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70031953"/>
      </p:ext>
    </p:extLst>
  </p:cSld>
  <p:clrMapOvr>
    <a:masterClrMapping/>
  </p:clrMapOvr>
  <p:hf sldNum="0"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303" y="2019150"/>
            <a:ext cx="4191395" cy="11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83135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109476"/>
      </p:ext>
    </p:extLst>
  </p:cSld>
  <p:clrMapOvr>
    <a:masterClrMapping/>
  </p:clrMapOvr>
  <p:hf sldNum="0" hdr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Gradi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163" y="310896"/>
            <a:ext cx="7772400" cy="3635826"/>
          </a:xfrm>
        </p:spPr>
        <p:txBody>
          <a:bodyPr anchor="t"/>
          <a:lstStyle>
            <a:lvl1pPr algn="l">
              <a:defRPr sz="4500" b="0" cap="none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8120" y="4713528"/>
            <a:ext cx="632066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713293-2328-2445-AA0F-189F1BEE04E7}" type="datetime1">
              <a:rPr lang="en-US" smtClean="0"/>
              <a:pPr/>
              <a:t>9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53400" y="4713528"/>
            <a:ext cx="3176945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cument ID / v. 0.1 / Life cycle status / Dept. / Author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4713528"/>
            <a:ext cx="315110" cy="26740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fld id="{9223803B-E8E2-334B-8877-4605643D3265}" type="slidenum">
              <a:rPr lang="en-US" smtClean="0">
                <a:solidFill>
                  <a:srgbClr val="FFFFFF"/>
                </a:solidFill>
                <a:latin typeface="Arial"/>
                <a:cs typeface="Arial"/>
              </a:rPr>
              <a:pPr lvl="0"/>
              <a:t>‹#›</a:t>
            </a:fld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253400" y="4576761"/>
            <a:ext cx="1140062" cy="26740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l"/>
            <a:r>
              <a:rPr lang="en-US" sz="800" b="1" i="0" baseline="0" dirty="0">
                <a:solidFill>
                  <a:srgbClr val="FFFFFF"/>
                </a:solidFill>
                <a:latin typeface="Arial"/>
                <a:cs typeface="Arial"/>
              </a:rPr>
              <a:t>For internal use</a:t>
            </a:r>
            <a:endParaRPr lang="en-US" sz="800" b="1" i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1" name="Picture 10" descr="NSN_whit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6408" y="4559394"/>
            <a:ext cx="896112" cy="34390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4572000" y="4713528"/>
            <a:ext cx="3126650" cy="26740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l"/>
            <a:r>
              <a:rPr lang="en-US" sz="800" baseline="0" dirty="0">
                <a:solidFill>
                  <a:schemeClr val="bg1"/>
                </a:solidFill>
                <a:latin typeface="+mn-lt"/>
                <a:cs typeface="Arial"/>
              </a:rPr>
              <a:t>©2013 Nokia Solutions and Networks. All rights reserved.</a:t>
            </a:r>
            <a:endParaRPr lang="en-US" sz="8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803932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8120" y="4713528"/>
            <a:ext cx="632066" cy="273844"/>
          </a:xfrm>
          <a:prstGeom prst="rect">
            <a:avLst/>
          </a:prstGeom>
        </p:spPr>
        <p:txBody>
          <a:bodyPr/>
          <a:lstStyle/>
          <a:p>
            <a:fld id="{CB69B7E1-5121-DB45-9E32-B75E98CC42EE}" type="datetime1">
              <a:rPr lang="en-US" smtClean="0"/>
              <a:pPr/>
              <a:t>9/8/19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0702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8120" y="1087310"/>
            <a:ext cx="4038600" cy="2545556"/>
          </a:xfrm>
        </p:spPr>
        <p:txBody>
          <a:bodyPr rIns="9144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9120" y="1087310"/>
            <a:ext cx="4038600" cy="2545556"/>
          </a:xfrm>
        </p:spPr>
        <p:txBody>
          <a:bodyPr rIns="9144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18120" y="4713528"/>
            <a:ext cx="632066" cy="273844"/>
          </a:xfrm>
          <a:prstGeom prst="rect">
            <a:avLst/>
          </a:prstGeom>
        </p:spPr>
        <p:txBody>
          <a:bodyPr/>
          <a:lstStyle/>
          <a:p>
            <a:fld id="{E6A89EFC-77E7-1B4E-9FB7-3E3514C1F454}" type="datetime1">
              <a:rPr lang="en-US" smtClean="0"/>
              <a:pPr/>
              <a:t>9/8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53400" y="4713528"/>
            <a:ext cx="317694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Document ID / v. 0.1 / Life cycle status / Dept. / Author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87703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8120" y="4713528"/>
            <a:ext cx="632066" cy="273844"/>
          </a:xfrm>
          <a:prstGeom prst="rect">
            <a:avLst/>
          </a:prstGeom>
        </p:spPr>
        <p:txBody>
          <a:bodyPr/>
          <a:lstStyle/>
          <a:p>
            <a:fld id="{648DB731-43B4-644E-8C8C-D0B0600D9403}" type="datetime1">
              <a:rPr lang="en-US" smtClean="0"/>
              <a:pPr/>
              <a:t>9/8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253400" y="4713528"/>
            <a:ext cx="317694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441488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ingle Corner Rectangle 7"/>
          <p:cNvSpPr/>
          <p:nvPr userDrawn="1"/>
        </p:nvSpPr>
        <p:spPr>
          <a:xfrm>
            <a:off x="402611" y="429768"/>
            <a:ext cx="8338779" cy="3716212"/>
          </a:xfrm>
          <a:prstGeom prst="round1Rect">
            <a:avLst>
              <a:gd name="adj" fmla="val 10971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8120" y="4713528"/>
            <a:ext cx="632066" cy="273844"/>
          </a:xfrm>
          <a:prstGeom prst="rect">
            <a:avLst/>
          </a:prstGeom>
        </p:spPr>
        <p:txBody>
          <a:bodyPr/>
          <a:lstStyle/>
          <a:p>
            <a:fld id="{4BA1BECD-7930-7944-9C02-4A0035817FCC}" type="datetime1">
              <a:rPr lang="en-US" smtClean="0"/>
              <a:pPr/>
              <a:t>9/8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53400" y="4713528"/>
            <a:ext cx="317694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Document ID / v. 0.1 / Life cycle status / Dept. / Autho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452" y="498916"/>
            <a:ext cx="7893748" cy="3639312"/>
          </a:xfrm>
        </p:spPr>
        <p:txBody>
          <a:bodyPr anchor="t"/>
          <a:lstStyle>
            <a:lvl1pPr algn="l">
              <a:defRPr sz="4500" b="0" cap="none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824124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081214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n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ingle Corner Rectangle 7"/>
          <p:cNvSpPr/>
          <p:nvPr userDrawn="1"/>
        </p:nvSpPr>
        <p:spPr>
          <a:xfrm>
            <a:off x="402611" y="429768"/>
            <a:ext cx="8338779" cy="3716212"/>
          </a:xfrm>
          <a:prstGeom prst="round1Rect">
            <a:avLst>
              <a:gd name="adj" fmla="val 10971"/>
            </a:avLst>
          </a:prstGeom>
          <a:pattFill prst="wdDnDiag">
            <a:fgClr>
              <a:schemeClr val="accent1">
                <a:lumMod val="60000"/>
                <a:lumOff val="40000"/>
              </a:schemeClr>
            </a:fgClr>
            <a:bgClr>
              <a:prstClr val="white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6927" y="502920"/>
            <a:ext cx="7899855" cy="3635826"/>
          </a:xfrm>
        </p:spPr>
        <p:txBody>
          <a:bodyPr anchor="t"/>
          <a:lstStyle>
            <a:lvl1pPr algn="l">
              <a:defRPr sz="4500" b="0" cap="none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8120" y="4713528"/>
            <a:ext cx="632066" cy="273844"/>
          </a:xfrm>
          <a:prstGeom prst="rect">
            <a:avLst/>
          </a:prstGeom>
        </p:spPr>
        <p:txBody>
          <a:bodyPr/>
          <a:lstStyle/>
          <a:p>
            <a:fld id="{4BA1BECD-7930-7944-9C02-4A0035817FCC}" type="datetime1">
              <a:rPr lang="en-US" smtClean="0"/>
              <a:pPr/>
              <a:t>9/8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53400" y="4713528"/>
            <a:ext cx="317694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Document ID / v. 0.1 / Life cycle status / Dept. / Auth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7300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42900" y="98298"/>
            <a:ext cx="8229600" cy="4732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99956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C309B6-D8A3-4A3A-9CAC-69BE6E6B10FD}" type="datetimeFigureOut">
              <a:rPr lang="en-US"/>
              <a:t>9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800" y="4789488"/>
            <a:ext cx="6080125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F9927-4299-40BC-BD38-743489F75F46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3691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5136644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19102" y="4816091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657000" y="4823622"/>
            <a:ext cx="1800000" cy="115416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685783"/>
            <a:r>
              <a:rPr lang="en-GB" sz="750" dirty="0">
                <a:solidFill>
                  <a:schemeClr val="bg1"/>
                </a:solidFill>
                <a:ea typeface="Nokia Pure Text Light" panose="020B0304040602060303" pitchFamily="34" charset="0"/>
                <a:cs typeface="Nokia Pure Text Light" panose="020B0304040602060303" pitchFamily="34" charset="0"/>
              </a:rPr>
              <a:t>© Nokia 2017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05024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52426" y="729844"/>
            <a:ext cx="8178800" cy="35040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649990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67363665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 bwMode="ltGray">
          <a:xfrm>
            <a:off x="4572000" y="1143000"/>
            <a:ext cx="0" cy="3314700"/>
          </a:xfrm>
          <a:prstGeom prst="line">
            <a:avLst/>
          </a:prstGeom>
          <a:ln w="19050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8964" y="1143001"/>
            <a:ext cx="4058706" cy="3314700"/>
          </a:xfrm>
        </p:spPr>
        <p:txBody>
          <a:bodyPr>
            <a:noAutofit/>
          </a:bodyPr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32" y="1143001"/>
            <a:ext cx="4058705" cy="3314700"/>
          </a:xfrm>
        </p:spPr>
        <p:txBody>
          <a:bodyPr>
            <a:noAutofit/>
          </a:bodyPr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137415" y="4917186"/>
            <a:ext cx="920038" cy="137160"/>
          </a:xfrm>
          <a:prstGeom prst="rect">
            <a:avLst/>
          </a:prstGeom>
        </p:spPr>
        <p:txBody>
          <a:bodyPr lIns="68589" tIns="34295" rIns="68589" bIns="34295"/>
          <a:lstStyle/>
          <a:p>
            <a:fld id="{DD23F527-3A46-1444-AC47-E74332FAE46E}" type="datetime1">
              <a:rPr lang="en-US" smtClean="0"/>
              <a:t>9/8/19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467752" y="4917186"/>
            <a:ext cx="2057936" cy="137160"/>
          </a:xfrm>
          <a:prstGeom prst="rect">
            <a:avLst/>
          </a:prstGeom>
        </p:spPr>
        <p:txBody>
          <a:bodyPr lIns="68589" tIns="34295" rIns="68589" bIns="34295"/>
          <a:lstStyle/>
          <a:p>
            <a:r>
              <a:rPr lang="en-US"/>
              <a:t>Confidential – Oracle Internal/Restricted/Highly Restricted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459212" y="4917186"/>
            <a:ext cx="286320" cy="137160"/>
          </a:xfrm>
          <a:prstGeom prst="rect">
            <a:avLst/>
          </a:prstGeom>
        </p:spPr>
        <p:txBody>
          <a:bodyPr lIns="68589" tIns="34295" rIns="68589" bIns="34295"/>
          <a:lstStyle/>
          <a:p>
            <a:fld id="{C51EAA63-D034-42AE-91FA-B13B9518C7BE}" type="slidenum">
              <a:rPr/>
              <a:t>‹#›</a:t>
            </a:fld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45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301801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0795224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5350" y="304800"/>
            <a:ext cx="14922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39688"/>
            <a:ext cx="1566862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63" y="563044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2276" y="2659314"/>
            <a:ext cx="8243887" cy="1697037"/>
          </a:xfrm>
        </p:spPr>
        <p:txBody>
          <a:bodyPr/>
          <a:lstStyle/>
          <a:p>
            <a:r>
              <a:rPr lang="en-US" dirty="0"/>
              <a:t>Supporting headline in sentence case here</a:t>
            </a:r>
          </a:p>
          <a:p>
            <a:r>
              <a:rPr lang="en-US" dirty="0"/>
              <a:t>Author/Presenter</a:t>
            </a:r>
          </a:p>
          <a:p>
            <a:r>
              <a:rPr lang="en-GB" dirty="0"/>
              <a:t>DD-MM-YYYY</a:t>
            </a:r>
          </a:p>
        </p:txBody>
      </p:sp>
    </p:spTree>
    <p:extLst>
      <p:ext uri="{BB962C8B-B14F-4D97-AF65-F5344CB8AC3E}">
        <p14:creationId xmlns:p14="http://schemas.microsoft.com/office/powerpoint/2010/main" val="145168673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60698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74914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/>
              <a:t>Click icon to add table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80963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SmartArt Placeholder 2"/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SmartArt graphic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6224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 descr="D:\userdata\a1sinha\Desktop\Sales Conference\GettyImages_471095445_CMYK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9144001" cy="5143501"/>
          </a:xfrm>
          <a:prstGeom prst="rect">
            <a:avLst/>
          </a:prstGeom>
          <a:noFill/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2" y="279249"/>
            <a:ext cx="7600157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4" y="590400"/>
            <a:ext cx="7600157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433388" y="4816091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78"/>
            <a:r>
              <a:rPr lang="en-GB" sz="800" dirty="0">
                <a:solidFill>
                  <a:srgbClr val="001135"/>
                </a:solidFill>
                <a:cs typeface="Arial" charset="0"/>
              </a:rPr>
              <a:t>© Nokia 2017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0691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65541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 noProof="0"/>
              <a:t>Click icon to add table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73524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06559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4" name="Table Placeholder 2"/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5" name="Table Placeholder 2"/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34729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2787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ppt模板-0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748467" y="4956293"/>
            <a:ext cx="395536" cy="22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4173ED6-4A69-4FA8-8A09-51FC87ACF5D8}" type="slidenum">
              <a:rPr lang="zh-CN" altLang="en-US" sz="831" b="1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pPr algn="r"/>
              <a:t>‹#›</a:t>
            </a:fld>
            <a:endParaRPr lang="zh-CN" altLang="en-US" sz="831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5858280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2694" y="205979"/>
            <a:ext cx="8229838" cy="857250"/>
          </a:xfrm>
          <a:prstGeom prst="rect">
            <a:avLst/>
          </a:prstGeom>
        </p:spPr>
        <p:txBody>
          <a:bodyPr lIns="86393" tIns="43196" rIns="86393" bIns="43196"/>
          <a:lstStyle>
            <a:lvl1pPr>
              <a:defRPr>
                <a:latin typeface="+mj-lt"/>
                <a:ea typeface="黑体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32694" y="1200154"/>
            <a:ext cx="8229838" cy="3394472"/>
          </a:xfrm>
          <a:prstGeom prst="rect">
            <a:avLst/>
          </a:prstGeom>
        </p:spPr>
        <p:txBody>
          <a:bodyPr lIns="86393" tIns="43196" rIns="86393" bIns="43196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38686927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92978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172089804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6495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0282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1296000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  <p:pic>
        <p:nvPicPr>
          <p:cNvPr id="12" name="Picture 2"/>
          <p:cNvPicPr>
            <a:picLocks noChangeAspect="1"/>
          </p:cNvPicPr>
          <p:nvPr userDrawn="1"/>
        </p:nvPicPr>
        <p:blipFill rotWithShape="1">
          <a:blip r:embed="rId2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7600" y="1751675"/>
            <a:ext cx="8787360" cy="149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70182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80235557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052266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885187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19042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247663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35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83392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30642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0825" y="123479"/>
            <a:ext cx="8642350" cy="57661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08706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48127955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cxnSp>
        <p:nvCxnSpPr>
          <p:cNvPr id="5" name="Straight Connector 26"/>
          <p:cNvCxnSpPr/>
          <p:nvPr userDrawn="1"/>
        </p:nvCxnSpPr>
        <p:spPr>
          <a:xfrm>
            <a:off x="0" y="598082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5402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50850232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05940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075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72161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19918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888541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61154738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695980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lang="en-GB" sz="2000" b="1" kern="1200" dirty="0">
                <a:solidFill>
                  <a:srgbClr val="3085BC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0400"/>
            <a:ext cx="8229600" cy="3680626"/>
          </a:xfrm>
        </p:spPr>
        <p:txBody>
          <a:bodyPr/>
          <a:lstStyle>
            <a:lvl1pPr>
              <a:defRPr>
                <a:solidFill>
                  <a:srgbClr val="3085BC"/>
                </a:solidFill>
              </a:defRPr>
            </a:lvl1pPr>
            <a:lvl2pPr marL="613584" indent="-306792">
              <a:spcBef>
                <a:spcPts val="0"/>
              </a:spcBef>
              <a:defRPr>
                <a:solidFill>
                  <a:srgbClr val="3085BC"/>
                </a:solidFill>
              </a:defRPr>
            </a:lvl2pPr>
            <a:lvl3pPr>
              <a:defRPr>
                <a:solidFill>
                  <a:srgbClr val="3085BC"/>
                </a:solidFill>
              </a:defRPr>
            </a:lvl3pPr>
            <a:lvl4pPr>
              <a:defRPr>
                <a:solidFill>
                  <a:srgbClr val="3085BC"/>
                </a:solidFill>
              </a:defRPr>
            </a:lvl4pPr>
            <a:lvl5pPr>
              <a:defRPr>
                <a:solidFill>
                  <a:srgbClr val="3085B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54201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789" algn="l">
              <a:defRPr sz="1400">
                <a:solidFill>
                  <a:schemeClr val="tx2"/>
                </a:solidFill>
              </a:defRPr>
            </a:lvl2pPr>
            <a:lvl3pPr marL="691183" indent="-230394" algn="l">
              <a:defRPr sz="1200">
                <a:solidFill>
                  <a:schemeClr val="tx2"/>
                </a:solidFill>
              </a:defRPr>
            </a:lvl3pPr>
            <a:lvl4pPr marL="921577" algn="l">
              <a:defRPr sz="1000">
                <a:solidFill>
                  <a:schemeClr val="tx2"/>
                </a:solidFill>
              </a:defRPr>
            </a:lvl4pPr>
            <a:lvl5pPr marL="1151972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Interna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6393835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51156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chemeClr val="tx2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headline</a:t>
            </a:r>
          </a:p>
        </p:txBody>
      </p:sp>
      <p:sp>
        <p:nvSpPr>
          <p:cNvPr id="12" name="Rechteck 11">
            <a:hlinkClick r:id="" action="ppaction://hlinkshowjump?jump=nextslide"/>
          </p:cNvPr>
          <p:cNvSpPr/>
          <p:nvPr userDrawn="1"/>
        </p:nvSpPr>
        <p:spPr>
          <a:xfrm>
            <a:off x="8712201" y="2482609"/>
            <a:ext cx="431800" cy="28623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08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Rechteck 12">
            <a:hlinkClick r:id="" action="ppaction://hlinkshowjump?jump=previousslide"/>
          </p:cNvPr>
          <p:cNvSpPr/>
          <p:nvPr userDrawn="1"/>
        </p:nvSpPr>
        <p:spPr>
          <a:xfrm>
            <a:off x="0" y="2482609"/>
            <a:ext cx="431800" cy="28623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08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419102" y="48268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57000" y="48267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6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86631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18516670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424371438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80045915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Rechteck 12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32511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9189037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4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1pPr>
            <a:lvl2pPr marL="460789" indent="-2303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2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2pPr>
            <a:lvl3pPr marL="691183" indent="-2285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1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3pPr>
            <a:lvl4pPr marL="921577" indent="-2285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9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4pPr>
            <a:lvl5pPr marL="1151972" indent="-2285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8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86692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cxnSp>
        <p:nvCxnSpPr>
          <p:cNvPr id="5" name="Straight Connector 26"/>
          <p:cNvCxnSpPr/>
          <p:nvPr userDrawn="1"/>
        </p:nvCxnSpPr>
        <p:spPr>
          <a:xfrm>
            <a:off x="0" y="598082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700826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1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12591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1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1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16061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1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1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1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010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085992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7357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0856242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422762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778" algn="l">
              <a:defRPr sz="1400">
                <a:solidFill>
                  <a:schemeClr val="tx2"/>
                </a:solidFill>
              </a:defRPr>
            </a:lvl2pPr>
            <a:lvl3pPr marL="691166" indent="-230388" algn="l">
              <a:defRPr sz="1200">
                <a:solidFill>
                  <a:schemeClr val="tx2"/>
                </a:solidFill>
              </a:defRPr>
            </a:lvl3pPr>
            <a:lvl4pPr marL="921554" algn="l">
              <a:defRPr sz="1000">
                <a:solidFill>
                  <a:schemeClr val="tx2"/>
                </a:solidFill>
              </a:defRPr>
            </a:lvl4pPr>
            <a:lvl5pPr marL="1151943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Interna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2164369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901087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3454859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41316145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3" indent="-230183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0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6383671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hlinkClick r:id="" action="ppaction://hlinkshowjump?jump=nextslide"/>
          </p:cNvPr>
          <p:cNvSpPr/>
          <p:nvPr userDrawn="1"/>
        </p:nvSpPr>
        <p:spPr>
          <a:xfrm>
            <a:off x="8712201" y="2482609"/>
            <a:ext cx="431800" cy="28623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08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Rechteck 12">
            <a:hlinkClick r:id="" action="ppaction://hlinkshowjump?jump=previousslide"/>
          </p:cNvPr>
          <p:cNvSpPr/>
          <p:nvPr userDrawn="1"/>
        </p:nvSpPr>
        <p:spPr>
          <a:xfrm>
            <a:off x="0" y="2482609"/>
            <a:ext cx="431800" cy="28623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08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6464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88" indent="-230388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4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1pPr>
            <a:lvl2pPr marL="460778" indent="-230388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2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2pPr>
            <a:lvl3pPr marL="691166" indent="-228588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1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3pPr>
            <a:lvl4pPr marL="921554" indent="-228588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9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4pPr>
            <a:lvl5pPr marL="1151943" indent="-228588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8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5pPr>
            <a:lvl6pPr marL="1382332" indent="-228588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2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08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3730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00634634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1653147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187446823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33633158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417513" y="220359"/>
            <a:ext cx="85440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grpSp>
        <p:nvGrpSpPr>
          <p:cNvPr id="5" name="McK Title Elements" hidden="1"/>
          <p:cNvGrpSpPr>
            <a:grpSpLocks/>
          </p:cNvGrpSpPr>
          <p:nvPr userDrawn="1"/>
        </p:nvGrpSpPr>
        <p:grpSpPr bwMode="auto">
          <a:xfrm>
            <a:off x="417513" y="3723389"/>
            <a:ext cx="5036084" cy="470131"/>
            <a:chOff x="1663" y="3065"/>
            <a:chExt cx="3109" cy="38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17513" y="1031709"/>
            <a:ext cx="71880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17513" y="2516049"/>
            <a:ext cx="7188000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14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797649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 userDrawn="1"/>
        </p:nvSpPr>
        <p:spPr bwMode="auto">
          <a:xfrm>
            <a:off x="417513" y="4837901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722313" y="4693439"/>
            <a:ext cx="512961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79BD94D-454E-41A4-AC9F-F62C9FCAF8FA}" type="datetime1">
              <a:rPr lang="en-US" smtClean="0"/>
              <a:pPr/>
              <a:t>9/8/19</a:t>
            </a:fld>
            <a:endParaRPr lang="en-US" dirty="0"/>
          </a:p>
        </p:txBody>
      </p:sp>
      <p:sp>
        <p:nvSpPr>
          <p:cNvPr id="17" name="Slide Number"/>
          <p:cNvSpPr txBox="1">
            <a:spLocks/>
          </p:cNvSpPr>
          <p:nvPr userDrawn="1"/>
        </p:nvSpPr>
        <p:spPr bwMode="auto">
          <a:xfrm>
            <a:off x="417513" y="4693439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 algn="l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0648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433135800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437875012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591313820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157717514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178834151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0391669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93752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390339174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29196616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601327717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3" y="1089025"/>
            <a:ext cx="8229600" cy="33067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2277203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942" y="3305447"/>
            <a:ext cx="7771749" cy="1020927"/>
          </a:xfrm>
        </p:spPr>
        <p:txBody>
          <a:bodyPr anchor="t"/>
          <a:lstStyle>
            <a:lvl1pPr algn="l">
              <a:defRPr sz="3197" b="1" cap="all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942" y="2180507"/>
            <a:ext cx="7771749" cy="1124910"/>
          </a:xfrm>
        </p:spPr>
        <p:txBody>
          <a:bodyPr anchor="b"/>
          <a:lstStyle>
            <a:lvl1pPr marL="0" indent="0">
              <a:buNone/>
              <a:defRPr sz="1499"/>
            </a:lvl1pPr>
            <a:lvl2pPr marL="352109" indent="0">
              <a:buNone/>
              <a:defRPr sz="1299"/>
            </a:lvl2pPr>
            <a:lvl3pPr marL="704201" indent="0">
              <a:buNone/>
              <a:defRPr sz="1199"/>
            </a:lvl3pPr>
            <a:lvl4pPr marL="1056301" indent="0">
              <a:buNone/>
              <a:defRPr sz="1099"/>
            </a:lvl4pPr>
            <a:lvl5pPr marL="1408397" indent="0">
              <a:buNone/>
              <a:defRPr sz="1099"/>
            </a:lvl5pPr>
            <a:lvl6pPr marL="1760498" indent="0">
              <a:buNone/>
              <a:defRPr sz="1099"/>
            </a:lvl6pPr>
            <a:lvl7pPr marL="2112597" indent="0">
              <a:buNone/>
              <a:defRPr sz="1099"/>
            </a:lvl7pPr>
            <a:lvl8pPr marL="2464697" indent="0">
              <a:buNone/>
              <a:defRPr sz="1099"/>
            </a:lvl8pPr>
            <a:lvl9pPr marL="2816797" indent="0">
              <a:buNone/>
              <a:defRPr sz="1099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12F53-F30E-4E85-BB3A-235F9490063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34880402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69401" y="1091309"/>
            <a:ext cx="8306342" cy="3384184"/>
          </a:xfrm>
        </p:spPr>
        <p:txBody>
          <a:bodyPr/>
          <a:lstStyle>
            <a:lvl1pPr>
              <a:defRPr sz="2198"/>
            </a:lvl1pPr>
            <a:lvl2pPr>
              <a:defRPr sz="1898"/>
            </a:lvl2pPr>
            <a:lvl3pPr>
              <a:defRPr sz="1499"/>
            </a:lvl3pPr>
            <a:lvl4pPr>
              <a:defRPr sz="1299"/>
            </a:lvl4pPr>
            <a:lvl5pPr>
              <a:defRPr sz="1299"/>
            </a:lvl5pPr>
            <a:lvl6pPr>
              <a:defRPr sz="1299"/>
            </a:lvl6pPr>
            <a:lvl7pPr>
              <a:defRPr sz="1299"/>
            </a:lvl7pPr>
            <a:lvl8pPr>
              <a:defRPr sz="1299"/>
            </a:lvl8pPr>
            <a:lvl9pPr>
              <a:defRPr sz="12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6D47D-3536-4B03-AB53-61F74F9452E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00625666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421" y="205870"/>
            <a:ext cx="8229166" cy="857077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426" y="1151168"/>
            <a:ext cx="4040271" cy="480005"/>
          </a:xfrm>
        </p:spPr>
        <p:txBody>
          <a:bodyPr anchor="b"/>
          <a:lstStyle>
            <a:lvl1pPr marL="0" indent="0">
              <a:buNone/>
              <a:defRPr sz="1898" b="1"/>
            </a:lvl1pPr>
            <a:lvl2pPr marL="352109" indent="0">
              <a:buNone/>
              <a:defRPr sz="1499" b="1"/>
            </a:lvl2pPr>
            <a:lvl3pPr marL="704201" indent="0">
              <a:buNone/>
              <a:defRPr sz="1299" b="1"/>
            </a:lvl3pPr>
            <a:lvl4pPr marL="1056301" indent="0">
              <a:buNone/>
              <a:defRPr sz="1199" b="1"/>
            </a:lvl4pPr>
            <a:lvl5pPr marL="1408397" indent="0">
              <a:buNone/>
              <a:defRPr sz="1199" b="1"/>
            </a:lvl5pPr>
            <a:lvl6pPr marL="1760498" indent="0">
              <a:buNone/>
              <a:defRPr sz="1199" b="1"/>
            </a:lvl6pPr>
            <a:lvl7pPr marL="2112597" indent="0">
              <a:buNone/>
              <a:defRPr sz="1199" b="1"/>
            </a:lvl7pPr>
            <a:lvl8pPr marL="2464697" indent="0">
              <a:buNone/>
              <a:defRPr sz="1199" b="1"/>
            </a:lvl8pPr>
            <a:lvl9pPr marL="2816797" indent="0">
              <a:buNone/>
              <a:defRPr sz="1199" b="1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426" y="1631188"/>
            <a:ext cx="4040271" cy="2962999"/>
          </a:xfrm>
        </p:spPr>
        <p:txBody>
          <a:bodyPr/>
          <a:lstStyle>
            <a:lvl1pPr>
              <a:defRPr sz="1898"/>
            </a:lvl1pPr>
            <a:lvl2pPr>
              <a:defRPr sz="1499"/>
            </a:lvl2pPr>
            <a:lvl3pPr>
              <a:defRPr sz="1299"/>
            </a:lvl3pPr>
            <a:lvl4pPr>
              <a:defRPr sz="1199"/>
            </a:lvl4pPr>
            <a:lvl5pPr>
              <a:defRPr sz="1199"/>
            </a:lvl5pPr>
            <a:lvl6pPr>
              <a:defRPr sz="1199"/>
            </a:lvl6pPr>
            <a:lvl7pPr>
              <a:defRPr sz="1199"/>
            </a:lvl7pPr>
            <a:lvl8pPr>
              <a:defRPr sz="1199"/>
            </a:lvl8pPr>
            <a:lvl9pPr>
              <a:defRPr sz="11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4875" y="1151168"/>
            <a:ext cx="4041714" cy="480005"/>
          </a:xfrm>
        </p:spPr>
        <p:txBody>
          <a:bodyPr anchor="b"/>
          <a:lstStyle>
            <a:lvl1pPr marL="0" indent="0">
              <a:buNone/>
              <a:defRPr sz="1898" b="1"/>
            </a:lvl1pPr>
            <a:lvl2pPr marL="352109" indent="0">
              <a:buNone/>
              <a:defRPr sz="1499" b="1"/>
            </a:lvl2pPr>
            <a:lvl3pPr marL="704201" indent="0">
              <a:buNone/>
              <a:defRPr sz="1299" b="1"/>
            </a:lvl3pPr>
            <a:lvl4pPr marL="1056301" indent="0">
              <a:buNone/>
              <a:defRPr sz="1199" b="1"/>
            </a:lvl4pPr>
            <a:lvl5pPr marL="1408397" indent="0">
              <a:buNone/>
              <a:defRPr sz="1199" b="1"/>
            </a:lvl5pPr>
            <a:lvl6pPr marL="1760498" indent="0">
              <a:buNone/>
              <a:defRPr sz="1199" b="1"/>
            </a:lvl6pPr>
            <a:lvl7pPr marL="2112597" indent="0">
              <a:buNone/>
              <a:defRPr sz="1199" b="1"/>
            </a:lvl7pPr>
            <a:lvl8pPr marL="2464697" indent="0">
              <a:buNone/>
              <a:defRPr sz="1199" b="1"/>
            </a:lvl8pPr>
            <a:lvl9pPr marL="2816797" indent="0">
              <a:buNone/>
              <a:defRPr sz="1199" b="1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4875" y="1631188"/>
            <a:ext cx="4041714" cy="2962999"/>
          </a:xfrm>
        </p:spPr>
        <p:txBody>
          <a:bodyPr/>
          <a:lstStyle>
            <a:lvl1pPr>
              <a:defRPr sz="1898"/>
            </a:lvl1pPr>
            <a:lvl2pPr>
              <a:defRPr sz="1499"/>
            </a:lvl2pPr>
            <a:lvl3pPr>
              <a:defRPr sz="1299"/>
            </a:lvl3pPr>
            <a:lvl4pPr>
              <a:defRPr sz="1199"/>
            </a:lvl4pPr>
            <a:lvl5pPr>
              <a:defRPr sz="1199"/>
            </a:lvl5pPr>
            <a:lvl6pPr>
              <a:defRPr sz="1199"/>
            </a:lvl6pPr>
            <a:lvl7pPr>
              <a:defRPr sz="1199"/>
            </a:lvl7pPr>
            <a:lvl8pPr>
              <a:defRPr sz="1199"/>
            </a:lvl8pPr>
            <a:lvl9pPr>
              <a:defRPr sz="11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EE442C-518C-4B80-B79E-779FAF4B791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05625104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102192-1BC0-4A5F-838D-69B9AAE3492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27260618"/>
      </p:ext>
    </p:extLst>
  </p:cSld>
  <p:clrMapOvr>
    <a:masterClrMapping/>
  </p:clrMapOvr>
  <p:transition spd="med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8139707" y="4924009"/>
            <a:ext cx="883088" cy="22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/>
            <a:fld id="{35CDA7CD-4C70-4959-9D59-097289C2B2C0}" type="slidenum">
              <a:rPr lang="zh-CN" altLang="en-US" sz="1099" b="1">
                <a:solidFill>
                  <a:schemeClr val="bg1"/>
                </a:solidFill>
              </a:rPr>
              <a:pPr algn="r"/>
              <a:t>‹#›</a:t>
            </a:fld>
            <a:endParaRPr lang="en-US" altLang="zh-CN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36CBE87-8C50-4E46-B150-3FC4633502D1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90078707"/>
      </p:ext>
    </p:extLst>
  </p:cSld>
  <p:clrMapOvr>
    <a:masterClrMapping/>
  </p:clrMapOvr>
  <p:transition spd="med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1568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76397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 White - INTERN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772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166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56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00" y="36000"/>
            <a:ext cx="1599250" cy="673200"/>
          </a:xfrm>
          <a:prstGeom prst="rect">
            <a:avLst/>
          </a:prstGeom>
        </p:spPr>
      </p:pic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9646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1 Blue - EXTERN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772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166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56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9" y="34045"/>
            <a:ext cx="1589956" cy="669288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13280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6962559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65825465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10414976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2107457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64177169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6220092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3360992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203255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98037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4701133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23479"/>
            <a:ext cx="8642350" cy="57661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250825" y="842962"/>
            <a:ext cx="4205288" cy="3889375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842963"/>
            <a:ext cx="4284662" cy="388937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050401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009012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67411045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0134150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32735976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18923748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2584490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00516552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939999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1322353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6534550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67786674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3107311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16318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23479"/>
            <a:ext cx="8642350" cy="57661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250825" y="842962"/>
            <a:ext cx="4205288" cy="3889375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842963"/>
            <a:ext cx="4284662" cy="388937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82091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688613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9747221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599"/>
              </a:spcAft>
              <a:defRPr baseline="0"/>
            </a:lvl1pPr>
            <a:lvl2pPr>
              <a:spcAft>
                <a:spcPts val="599"/>
              </a:spcAft>
              <a:defRPr/>
            </a:lvl2pPr>
            <a:lvl3pPr>
              <a:spcAft>
                <a:spcPts val="599"/>
              </a:spcAft>
              <a:defRPr/>
            </a:lvl3pPr>
            <a:lvl4pPr>
              <a:spcAft>
                <a:spcPts val="599"/>
              </a:spcAft>
              <a:defRPr/>
            </a:lvl4pPr>
            <a:lvl5pPr>
              <a:spcAft>
                <a:spcPts val="59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1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8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24498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1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8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9"/>
            <a:ext cx="4032250" cy="2544762"/>
          </a:xfrm>
        </p:spPr>
        <p:txBody>
          <a:bodyPr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1"/>
            <a:ext cx="4032250" cy="2544762"/>
          </a:xfrm>
        </p:spPr>
        <p:txBody>
          <a:bodyPr/>
          <a:lstStyle>
            <a:lvl1pPr marL="0" indent="0">
              <a:spcAft>
                <a:spcPts val="599"/>
              </a:spcAft>
              <a:buNone/>
              <a:defRPr baseline="0"/>
            </a:lvl1pPr>
            <a:lvl2pPr marL="0" indent="0">
              <a:spcAft>
                <a:spcPts val="599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8161087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8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3916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5302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1" hidden="1"/>
          <p:cNvSpPr txBox="1">
            <a:spLocks/>
          </p:cNvSpPr>
          <p:nvPr userDrawn="1"/>
        </p:nvSpPr>
        <p:spPr>
          <a:xfrm>
            <a:off x="258763" y="4997450"/>
            <a:ext cx="212725" cy="1238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E6691D2-589E-44C3-9C69-F660AAFB1723}" type="slidenum">
              <a:rPr sz="799"/>
              <a:pPr>
                <a:defRPr/>
              </a:pPr>
              <a:t>‹#›</a:t>
            </a:fld>
            <a:endParaRPr sz="799" dirty="0"/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9174" y="172513"/>
            <a:ext cx="8631936" cy="280797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955694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180001"/>
            <a:ext cx="8244000" cy="2253600"/>
          </a:xfrm>
        </p:spPr>
        <p:txBody>
          <a:bodyPr/>
          <a:lstStyle>
            <a:lvl1pPr marL="0" indent="0">
              <a:buNone/>
              <a:defRPr sz="6595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3773" indent="-323773">
              <a:buFont typeface="Arial" pitchFamily="34" charset="0"/>
              <a:buChar char="•"/>
              <a:tabLst/>
              <a:defRPr>
                <a:latin typeface="+mn-lt"/>
              </a:defRPr>
            </a:lvl1pPr>
            <a:lvl2pPr marL="230027" indent="0">
              <a:buNone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6946276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65859674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sz="1399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35198517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599">
                <a:solidFill>
                  <a:schemeClr val="tx2"/>
                </a:solidFill>
              </a:defRPr>
            </a:lvl1pPr>
            <a:lvl2pPr marL="460477" algn="l">
              <a:defRPr sz="1399">
                <a:solidFill>
                  <a:schemeClr val="tx2"/>
                </a:solidFill>
              </a:defRPr>
            </a:lvl2pPr>
            <a:lvl3pPr marL="690716" indent="-230239" algn="l">
              <a:defRPr sz="1199">
                <a:solidFill>
                  <a:schemeClr val="tx2"/>
                </a:solidFill>
              </a:defRPr>
            </a:lvl3pPr>
            <a:lvl4pPr marL="920954" algn="l">
              <a:defRPr sz="999">
                <a:solidFill>
                  <a:schemeClr val="tx2"/>
                </a:solidFill>
              </a:defRPr>
            </a:lvl4pPr>
            <a:lvl5pPr marL="1151193" algn="l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Nokia Internal Use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250677000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sz="1399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None/>
              <a:defRPr sz="1399" baseline="0">
                <a:solidFill>
                  <a:schemeClr val="tx2"/>
                </a:solidFill>
              </a:defRPr>
            </a:lvl1pPr>
            <a:lvl2pPr marL="0" indent="0">
              <a:spcAft>
                <a:spcPts val="599"/>
              </a:spcAft>
              <a:buNone/>
              <a:defRPr sz="1399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95542089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352970281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sz="1399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1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None/>
              <a:defRPr sz="1399" baseline="0">
                <a:solidFill>
                  <a:schemeClr val="tx2"/>
                </a:solidFill>
              </a:defRPr>
            </a:lvl1pPr>
            <a:lvl2pPr marL="0" indent="0">
              <a:spcAft>
                <a:spcPts val="599"/>
              </a:spcAft>
              <a:buNone/>
              <a:defRPr sz="1399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sz="1399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318128899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19999" y="1080000"/>
            <a:ext cx="2606313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>
                <a:cs typeface="Arial" panose="020B0604020202020204" pitchFamily="34" charset="0"/>
              </a:rPr>
              <a:t>Nokia Internal Use</a:t>
            </a:r>
            <a:endParaRPr lang="en-US" noProof="0" dirty="0"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310091339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sz="1399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None/>
              <a:defRPr sz="1399" baseline="0">
                <a:solidFill>
                  <a:schemeClr val="tx2"/>
                </a:solidFill>
              </a:defRPr>
            </a:lvl1pPr>
            <a:lvl2pPr marL="0" indent="0">
              <a:spcAft>
                <a:spcPts val="599"/>
              </a:spcAft>
              <a:buNone/>
              <a:defRPr sz="1399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9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sz="1399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1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599"/>
              </a:spcAft>
              <a:buNone/>
              <a:defRPr sz="1399" baseline="0">
                <a:solidFill>
                  <a:schemeClr val="tx2"/>
                </a:solidFill>
              </a:defRPr>
            </a:lvl1pPr>
            <a:lvl2pPr marL="0" indent="0">
              <a:spcAft>
                <a:spcPts val="599"/>
              </a:spcAft>
              <a:buNone/>
              <a:defRPr sz="1399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05876261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3298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6000" contrast="-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65042939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2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1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1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599">
                <a:solidFill>
                  <a:schemeClr val="tx2"/>
                </a:solidFill>
              </a:defRPr>
            </a:lvl1pPr>
            <a:lvl2pPr marL="460477">
              <a:defRPr sz="1399">
                <a:solidFill>
                  <a:schemeClr val="tx2"/>
                </a:solidFill>
              </a:defRPr>
            </a:lvl2pPr>
            <a:lvl3pPr marL="690716" indent="-230239">
              <a:defRPr sz="1199">
                <a:solidFill>
                  <a:schemeClr val="tx2"/>
                </a:solidFill>
              </a:defRPr>
            </a:lvl3pPr>
            <a:lvl4pPr marL="920954">
              <a:defRPr sz="999">
                <a:solidFill>
                  <a:schemeClr val="tx2"/>
                </a:solidFill>
              </a:defRPr>
            </a:lvl4pPr>
            <a:lvl5pPr marL="1151193">
              <a:defRPr sz="799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1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1998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98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68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344278559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1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595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  <a:prstGeom prst="rect">
            <a:avLst/>
          </a:prstGeom>
        </p:spPr>
        <p:txBody>
          <a:bodyPr/>
          <a:lstStyle>
            <a:lvl1pPr marL="323773" indent="-323773">
              <a:buFont typeface="Arial" pitchFamily="34" charset="0"/>
              <a:buChar char="•"/>
              <a:tabLst/>
              <a:defRPr>
                <a:latin typeface="+mn-lt"/>
              </a:defRPr>
            </a:lvl1pPr>
            <a:lvl2pPr marL="230027" indent="0">
              <a:buNone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5569420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599"/>
              </a:spcAft>
              <a:defRPr baseline="0"/>
            </a:lvl1pPr>
            <a:lvl2pPr>
              <a:spcAft>
                <a:spcPts val="599"/>
              </a:spcAft>
              <a:defRPr/>
            </a:lvl2pPr>
            <a:lvl3pPr>
              <a:spcAft>
                <a:spcPts val="599"/>
              </a:spcAft>
              <a:defRPr/>
            </a:lvl3pPr>
            <a:lvl4pPr>
              <a:spcAft>
                <a:spcPts val="599"/>
              </a:spcAft>
              <a:defRPr/>
            </a:lvl4pPr>
            <a:lvl5pPr>
              <a:spcAft>
                <a:spcPts val="59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1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8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29512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1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8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9"/>
            <a:ext cx="4032250" cy="2544762"/>
          </a:xfrm>
        </p:spPr>
        <p:txBody>
          <a:bodyPr/>
          <a:lstStyle>
            <a:lvl1pPr marL="0" indent="0">
              <a:spcAft>
                <a:spcPts val="599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1"/>
            <a:ext cx="4032250" cy="2544762"/>
          </a:xfrm>
        </p:spPr>
        <p:txBody>
          <a:bodyPr/>
          <a:lstStyle>
            <a:lvl1pPr marL="0" indent="0">
              <a:spcAft>
                <a:spcPts val="599"/>
              </a:spcAft>
              <a:buNone/>
              <a:defRPr baseline="0"/>
            </a:lvl1pPr>
            <a:lvl2pPr marL="0" indent="0">
              <a:spcAft>
                <a:spcPts val="599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9597572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8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112662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1" hidden="1"/>
          <p:cNvSpPr txBox="1">
            <a:spLocks/>
          </p:cNvSpPr>
          <p:nvPr userDrawn="1"/>
        </p:nvSpPr>
        <p:spPr>
          <a:xfrm>
            <a:off x="258763" y="4997450"/>
            <a:ext cx="212725" cy="1238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456879">
              <a:defRPr/>
            </a:pPr>
            <a:fld id="{DE6691D2-589E-44C3-9C69-F660AAFB1723}" type="slidenum">
              <a:rPr sz="799">
                <a:solidFill>
                  <a:srgbClr val="124191"/>
                </a:solidFill>
              </a:rPr>
              <a:pPr defTabSz="456879">
                <a:defRPr/>
              </a:pPr>
              <a:t>‹#›</a:t>
            </a:fld>
            <a:endParaRPr sz="799" dirty="0">
              <a:solidFill>
                <a:srgbClr val="124191"/>
              </a:solidFill>
            </a:endParaRP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9174" y="172513"/>
            <a:ext cx="8631936" cy="280797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928062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180001"/>
            <a:ext cx="8244000" cy="2253600"/>
          </a:xfrm>
        </p:spPr>
        <p:txBody>
          <a:bodyPr/>
          <a:lstStyle>
            <a:lvl1pPr marL="0" indent="0">
              <a:buNone/>
              <a:defRPr sz="6595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3773" indent="-323773">
              <a:buFont typeface="Arial" pitchFamily="34" charset="0"/>
              <a:buChar char="•"/>
              <a:tabLst/>
              <a:defRPr>
                <a:latin typeface="+mn-lt"/>
              </a:defRPr>
            </a:lvl1pPr>
            <a:lvl2pPr marL="230027" indent="0">
              <a:buNone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2270676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89538207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&lt;Change information classification in footer&gt;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775686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&lt;Change information classification in footer&gt;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08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20084857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&lt;Change information classification in footer&gt;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73885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&lt;Change information classification in footer&gt;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7224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8570"/>
            <a:ext cx="9144000" cy="50200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0930692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1 Blue - EXTERN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sz="800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sz="600" dirty="0"/>
              <a:t>Eigh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47" y="36042"/>
            <a:ext cx="252575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08272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C309B6-D8A3-4A3A-9CAC-69BE6E6B10FD}" type="datetimeFigureOut">
              <a:rPr lang="en-US"/>
              <a:t>9/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1800" y="4789488"/>
            <a:ext cx="6080125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F9927-4299-40BC-BD38-743489F75F46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20745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8354700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54106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05333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4480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301777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1323409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1489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35292131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631713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3888452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277335"/>
      </p:ext>
    </p:extLst>
  </p:cSld>
  <p:clrMapOvr>
    <a:masterClrMapping/>
  </p:clrMapOvr>
  <p:transition spd="slow"/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097271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1719FA-4378-4939-BE37-C416D13C17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555" y="4613429"/>
            <a:ext cx="1607127" cy="423772"/>
          </a:xfrm>
          <a:prstGeom prst="rect">
            <a:avLst/>
          </a:prstGeom>
        </p:spPr>
      </p:pic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EB6AAFBE-605A-4BDB-A2C6-35DC3E89F3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1141E3A-F074-4A6D-997C-C57C609A0A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400893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77084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58400770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137415" y="4917186"/>
            <a:ext cx="920038" cy="137160"/>
          </a:xfrm>
          <a:prstGeom prst="rect">
            <a:avLst/>
          </a:prstGeom>
        </p:spPr>
        <p:txBody>
          <a:bodyPr/>
          <a:lstStyle/>
          <a:p>
            <a:fld id="{FD39A174-1ADF-1E48-B6DD-36515CA54732}" type="datetime1">
              <a:rPr lang="en-US" smtClean="0"/>
              <a:t>9/8/19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467752" y="4917186"/>
            <a:ext cx="2057936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Oracle Internal/Restricted/Highly Restricted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59212" y="4917186"/>
            <a:ext cx="286320" cy="137160"/>
          </a:xfrm>
          <a:prstGeom prst="rect">
            <a:avLst/>
          </a:prstGeom>
        </p:spPr>
        <p:txBody>
          <a:bodyPr/>
          <a:lstStyle/>
          <a:p>
            <a:fld id="{C51EAA63-D034-42AE-91FA-B13B9518C7BE}" type="slidenum">
              <a:rPr/>
              <a:t>‹#›</a:t>
            </a:fld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730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For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1635979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16837991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55" descr="色条 拷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5141"/>
            <a:ext cx="9144000" cy="2775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6"/>
          <p:cNvSpPr txBox="1">
            <a:spLocks noChangeArrowheads="1"/>
          </p:cNvSpPr>
          <p:nvPr/>
        </p:nvSpPr>
        <p:spPr bwMode="auto">
          <a:xfrm>
            <a:off x="7705551" y="4691064"/>
            <a:ext cx="970138" cy="20774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algn="r">
              <a:defRPr/>
            </a:pPr>
            <a:r>
              <a:rPr kumimoji="0" lang="en-US" altLang="zh-CN" sz="750">
                <a:solidFill>
                  <a:srgbClr val="000000"/>
                </a:solidFill>
              </a:rPr>
              <a:t>© CHINAUNICOM</a:t>
            </a:r>
          </a:p>
        </p:txBody>
      </p:sp>
      <p:grpSp>
        <p:nvGrpSpPr>
          <p:cNvPr id="6" name="Group 31"/>
          <p:cNvGrpSpPr/>
          <p:nvPr/>
        </p:nvGrpSpPr>
        <p:grpSpPr bwMode="auto">
          <a:xfrm>
            <a:off x="560389" y="4786312"/>
            <a:ext cx="287337" cy="215504"/>
            <a:chOff x="3742" y="3113"/>
            <a:chExt cx="136" cy="136"/>
          </a:xfrm>
        </p:grpSpPr>
        <p:sp>
          <p:nvSpPr>
            <p:cNvPr id="7" name="AutoShape 32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9pPr>
            </a:lstStyle>
            <a:p>
              <a:pPr eaLnBrk="1" hangingPunct="1"/>
              <a:endParaRPr lang="zh-CN" altLang="en-US" sz="1350">
                <a:solidFill>
                  <a:srgbClr val="000000"/>
                </a:solidFill>
              </a:endParaRPr>
            </a:p>
          </p:txBody>
        </p:sp>
        <p:sp>
          <p:nvSpPr>
            <p:cNvPr id="8" name="AutoShape 33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9pPr>
            </a:lstStyle>
            <a:p>
              <a:pPr eaLnBrk="1" hangingPunct="1"/>
              <a:endParaRPr lang="zh-CN" altLang="en-US" sz="135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34"/>
          <p:cNvGrpSpPr/>
          <p:nvPr/>
        </p:nvGrpSpPr>
        <p:grpSpPr bwMode="auto">
          <a:xfrm>
            <a:off x="250826" y="5003006"/>
            <a:ext cx="287338" cy="215504"/>
            <a:chOff x="3742" y="3113"/>
            <a:chExt cx="136" cy="136"/>
          </a:xfrm>
        </p:grpSpPr>
        <p:sp>
          <p:nvSpPr>
            <p:cNvPr id="10" name="AutoShape 35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9pPr>
            </a:lstStyle>
            <a:p>
              <a:pPr eaLnBrk="1" hangingPunct="1"/>
              <a:endParaRPr lang="zh-CN" altLang="en-US" sz="1350">
                <a:solidFill>
                  <a:srgbClr val="000000"/>
                </a:solidFill>
              </a:endParaRPr>
            </a:p>
          </p:txBody>
        </p:sp>
        <p:sp>
          <p:nvSpPr>
            <p:cNvPr id="11" name="AutoShape 36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华文细黑" panose="02010600040101010101" pitchFamily="2" charset="-122"/>
                </a:defRPr>
              </a:lvl9pPr>
            </a:lstStyle>
            <a:p>
              <a:pPr eaLnBrk="1" hangingPunct="1"/>
              <a:endParaRPr lang="zh-CN" altLang="en-US" sz="1350">
                <a:solidFill>
                  <a:srgbClr val="000000"/>
                </a:solidFill>
              </a:endParaRPr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4" y="1912144"/>
            <a:ext cx="8424167" cy="506016"/>
          </a:xfrm>
        </p:spPr>
        <p:txBody>
          <a:bodyPr/>
          <a:lstStyle>
            <a:lvl1pPr marL="0" algn="r">
              <a:defRPr sz="27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altLang="zh-CN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68314" y="2518172"/>
            <a:ext cx="8207375" cy="323850"/>
          </a:xfrm>
        </p:spPr>
        <p:txBody>
          <a:bodyPr/>
          <a:lstStyle>
            <a:lvl1pPr marL="0" indent="0" algn="r">
              <a:buFont typeface="Wingdings" panose="05000000000000000000" pitchFamily="2" charset="2"/>
              <a:buNone/>
              <a:defRPr b="0">
                <a:latin typeface="Arial" panose="020B0604020202020204" pitchFamily="34" charset="0"/>
              </a:defRPr>
            </a:lvl1pPr>
          </a:lstStyle>
          <a:p>
            <a:r>
              <a:rPr lang="zh-CN" altLang="en-US" dirty="0"/>
              <a:t>副标题文本样式：黑体</a:t>
            </a:r>
            <a:r>
              <a:rPr lang="en-US" altLang="zh-CN" dirty="0"/>
              <a:t>/18</a:t>
            </a:r>
            <a:r>
              <a:rPr lang="zh-CN" altLang="en-US" dirty="0"/>
              <a:t>号  </a:t>
            </a:r>
            <a:r>
              <a:rPr lang="en-US" altLang="zh-CN" dirty="0"/>
              <a:t>Arial/18pt</a:t>
            </a:r>
          </a:p>
        </p:txBody>
      </p:sp>
    </p:spTree>
    <p:extLst>
      <p:ext uri="{BB962C8B-B14F-4D97-AF65-F5344CB8AC3E}">
        <p14:creationId xmlns:p14="http://schemas.microsoft.com/office/powerpoint/2010/main" val="16881769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0" presetClass="path" presetSubtype="0" repeatCount="indefinite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89948 -0.30139 C 0.81424 -0.29051 0.52691 -0.26366 0.38976 -0.23658 C 0.25243 -0.20949 0.16233 -0.17083 0.07569 -0.13843 C -0.01094 -0.10602 -0.08698 -0.06227 -0.12969 -0.04213 " pathEditMode="relative" rAng="0" ptsTypes="aaaa">
                                      <p:cBhvr>
                                        <p:cTn id="15" dur="3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6" presetClass="emph" presetSubtype="0" repeatCount="indefinite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10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50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0" presetClass="path" presetSubtype="0" repeatCount="indefinite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8889 -0.21574 C -0.02553 -0.2007 0.17031 -0.12593 0.29166 -0.125 C 0.41302 -0.12408 0.55329 -0.18079 0.63888 -0.21065 C 0.72447 -0.24051 0.76475 -0.27824 0.80555 -0.30463 C 0.84635 -0.33102 0.86718 -0.35602 0.88333 -0.36945 " pathEditMode="relative" rAng="0" ptsTypes="aaaaa">
                                      <p:cBhvr>
                                        <p:cTn id="25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7544" y="108349"/>
            <a:ext cx="8208144" cy="48696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8313" y="843558"/>
            <a:ext cx="8207375" cy="4030861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420AE384-7BEA-47C2-BB0C-9EF2F912DAFA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1709350"/>
      </p:ext>
    </p:extLst>
  </p:cSld>
  <p:clrMapOvr>
    <a:masterClrMapping/>
  </p:clrMapOvr>
  <p:transition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0CD18A8E-64E3-49D5-B10B-D9876DDAD84A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3696265485"/>
      </p:ext>
    </p:extLst>
  </p:cSld>
  <p:clrMapOvr>
    <a:masterClrMapping/>
  </p:clrMapOvr>
  <p:transition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56C42B-C93E-4975-9521-510ADF828418}" type="slidenum">
              <a:rPr lang="zh-CN" altLang="en-US">
                <a:solidFill>
                  <a:srgbClr val="000000"/>
                </a:solidFill>
              </a:rPr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783326"/>
      </p:ext>
    </p:extLst>
  </p:cSld>
  <p:clrMapOvr>
    <a:masterClrMapping/>
  </p:clrMapOvr>
  <p:transition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5006CECE-81EE-4DDB-9714-C146E7BBCADB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3058834766"/>
      </p:ext>
    </p:extLst>
  </p:cSld>
  <p:clrMapOvr>
    <a:masterClrMapping/>
  </p:clrMapOvr>
  <p:transition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标题，一项大型内容和两项小型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8314" y="108349"/>
            <a:ext cx="8207375" cy="48696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68314" y="735806"/>
            <a:ext cx="4027487" cy="413861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648200" y="735808"/>
            <a:ext cx="4027488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648200" y="2862264"/>
            <a:ext cx="4027488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E87A8E8F-BE7D-487F-8EC2-BD807125146D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4055594695"/>
      </p:ext>
    </p:extLst>
  </p:cSld>
  <p:clrMapOvr>
    <a:masterClrMapping/>
  </p:clrMapOvr>
  <p:transition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标题，文本与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8314" y="108349"/>
            <a:ext cx="8207375" cy="48696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468314" y="735806"/>
            <a:ext cx="4027487" cy="413861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648200" y="735808"/>
            <a:ext cx="4027488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648200" y="2862264"/>
            <a:ext cx="4027488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F0187668-4B75-405F-B08E-A1DB0CD1F862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2904203276"/>
      </p:ext>
    </p:extLst>
  </p:cSld>
  <p:clrMapOvr>
    <a:masterClrMapping/>
  </p:clrMapOvr>
  <p:transition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标题和四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sz="quarter"/>
          </p:nvPr>
        </p:nvSpPr>
        <p:spPr>
          <a:xfrm>
            <a:off x="468314" y="108349"/>
            <a:ext cx="8207375" cy="48696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"/>
          </p:nvPr>
        </p:nvSpPr>
        <p:spPr>
          <a:xfrm>
            <a:off x="468314" y="735808"/>
            <a:ext cx="4027487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648200" y="735808"/>
            <a:ext cx="4027488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68314" y="2862264"/>
            <a:ext cx="4027487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8200" y="2862264"/>
            <a:ext cx="4027488" cy="201215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D6C8F423-7B55-4164-953E-A683D114C0B7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1406112225"/>
      </p:ext>
    </p:extLst>
  </p:cSld>
  <p:clrMapOvr>
    <a:masterClrMapping/>
  </p:clrMapOvr>
  <p:transition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68314" y="735806"/>
            <a:ext cx="4027487" cy="413861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735806"/>
            <a:ext cx="4027488" cy="413861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B6034E97-6CF7-44C5-98DD-F30D788675CC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339931149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164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标题，文本与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8314" y="108349"/>
            <a:ext cx="8207375" cy="48696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468314" y="735806"/>
            <a:ext cx="4027487" cy="413861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735806"/>
            <a:ext cx="4027488" cy="413861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CACF97B2-74BB-4038-BE04-AE6CB52837C3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3190535435"/>
      </p:ext>
    </p:extLst>
  </p:cSld>
  <p:clrMapOvr>
    <a:masterClrMapping/>
  </p:clrMapOvr>
  <p:transition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1" t="1717" r="74190" b="70428"/>
          <a:stretch>
            <a:fillRect/>
          </a:stretch>
        </p:blipFill>
        <p:spPr bwMode="auto">
          <a:xfrm>
            <a:off x="7786689" y="3964782"/>
            <a:ext cx="1357312" cy="117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接连接符 5"/>
          <p:cNvCxnSpPr>
            <a:cxnSpLocks noChangeShapeType="1"/>
          </p:cNvCxnSpPr>
          <p:nvPr/>
        </p:nvCxnSpPr>
        <p:spPr bwMode="auto">
          <a:xfrm>
            <a:off x="0" y="716756"/>
            <a:ext cx="91440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13" t="10342" r="12415" b="6898"/>
          <a:stretch>
            <a:fillRect/>
          </a:stretch>
        </p:blipFill>
        <p:spPr bwMode="auto">
          <a:xfrm>
            <a:off x="7470775" y="39291"/>
            <a:ext cx="1379538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40"/>
          <p:cNvSpPr txBox="1">
            <a:spLocks noChangeArrowheads="1"/>
          </p:cNvSpPr>
          <p:nvPr/>
        </p:nvSpPr>
        <p:spPr bwMode="auto">
          <a:xfrm>
            <a:off x="9529763" y="4552950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>
                <a:solidFill>
                  <a:srgbClr val="FFFFFF"/>
                </a:solidFill>
                <a:ea typeface="宋体" panose="02010600030101010101" pitchFamily="2" charset="-122"/>
              </a:rPr>
              <a:t>250,190,0</a:t>
            </a:r>
          </a:p>
        </p:txBody>
      </p:sp>
      <p:sp>
        <p:nvSpPr>
          <p:cNvPr id="9" name="Rectangle 41"/>
          <p:cNvSpPr>
            <a:spLocks noChangeArrowheads="1"/>
          </p:cNvSpPr>
          <p:nvPr/>
        </p:nvSpPr>
        <p:spPr bwMode="auto">
          <a:xfrm>
            <a:off x="9242426" y="4508875"/>
            <a:ext cx="360363" cy="300082"/>
          </a:xfrm>
          <a:prstGeom prst="rect">
            <a:avLst/>
          </a:prstGeom>
          <a:solidFill>
            <a:srgbClr val="FABE0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0" name="Rectangle 42"/>
          <p:cNvSpPr>
            <a:spLocks noChangeArrowheads="1"/>
          </p:cNvSpPr>
          <p:nvPr/>
        </p:nvSpPr>
        <p:spPr bwMode="auto">
          <a:xfrm>
            <a:off x="9242426" y="4737475"/>
            <a:ext cx="360363" cy="300082"/>
          </a:xfrm>
          <a:prstGeom prst="rect">
            <a:avLst/>
          </a:prstGeom>
          <a:solidFill>
            <a:srgbClr val="A0A0A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1" name="Text Box 43"/>
          <p:cNvSpPr txBox="1">
            <a:spLocks noChangeArrowheads="1"/>
          </p:cNvSpPr>
          <p:nvPr/>
        </p:nvSpPr>
        <p:spPr bwMode="auto">
          <a:xfrm>
            <a:off x="9529763" y="4782742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>
                <a:solidFill>
                  <a:srgbClr val="FFFFFF"/>
                </a:solidFill>
                <a:ea typeface="宋体" panose="02010600030101010101" pitchFamily="2" charset="-122"/>
              </a:rPr>
              <a:t>160,160,160</a:t>
            </a:r>
          </a:p>
        </p:txBody>
      </p:sp>
      <p:sp>
        <p:nvSpPr>
          <p:cNvPr id="12" name="Rectangle 44"/>
          <p:cNvSpPr>
            <a:spLocks noChangeArrowheads="1"/>
          </p:cNvSpPr>
          <p:nvPr/>
        </p:nvSpPr>
        <p:spPr bwMode="auto">
          <a:xfrm>
            <a:off x="9242426" y="3130131"/>
            <a:ext cx="360363" cy="300082"/>
          </a:xfrm>
          <a:prstGeom prst="rect">
            <a:avLst/>
          </a:prstGeom>
          <a:solidFill>
            <a:srgbClr val="ECE5CE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3" name="Rectangle 45"/>
          <p:cNvSpPr>
            <a:spLocks noChangeArrowheads="1"/>
          </p:cNvSpPr>
          <p:nvPr/>
        </p:nvSpPr>
        <p:spPr bwMode="auto">
          <a:xfrm>
            <a:off x="9242426" y="3351588"/>
            <a:ext cx="360363" cy="300082"/>
          </a:xfrm>
          <a:prstGeom prst="rect">
            <a:avLst/>
          </a:prstGeom>
          <a:solidFill>
            <a:srgbClr val="F1D4AF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4" name="Rectangle 46"/>
          <p:cNvSpPr>
            <a:spLocks noChangeArrowheads="1"/>
          </p:cNvSpPr>
          <p:nvPr/>
        </p:nvSpPr>
        <p:spPr bwMode="auto">
          <a:xfrm>
            <a:off x="9242426" y="3573044"/>
            <a:ext cx="360363" cy="300082"/>
          </a:xfrm>
          <a:prstGeom prst="rect">
            <a:avLst/>
          </a:prstGeom>
          <a:solidFill>
            <a:srgbClr val="E08E79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5" name="Text Box 47"/>
          <p:cNvSpPr txBox="1">
            <a:spLocks noChangeArrowheads="1"/>
          </p:cNvSpPr>
          <p:nvPr/>
        </p:nvSpPr>
        <p:spPr bwMode="auto">
          <a:xfrm>
            <a:off x="9529763" y="3175398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36,229,206</a:t>
            </a:r>
          </a:p>
        </p:txBody>
      </p:sp>
      <p:sp>
        <p:nvSpPr>
          <p:cNvPr id="16" name="Text Box 48"/>
          <p:cNvSpPr txBox="1">
            <a:spLocks noChangeArrowheads="1"/>
          </p:cNvSpPr>
          <p:nvPr/>
        </p:nvSpPr>
        <p:spPr bwMode="auto">
          <a:xfrm>
            <a:off x="9529763" y="3398044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>
                <a:solidFill>
                  <a:srgbClr val="FFFFFF"/>
                </a:solidFill>
                <a:ea typeface="宋体" panose="02010600030101010101" pitchFamily="2" charset="-122"/>
              </a:rPr>
              <a:t>241,212,175</a:t>
            </a:r>
          </a:p>
        </p:txBody>
      </p:sp>
      <p:sp>
        <p:nvSpPr>
          <p:cNvPr id="17" name="Text Box 49"/>
          <p:cNvSpPr txBox="1">
            <a:spLocks noChangeArrowheads="1"/>
          </p:cNvSpPr>
          <p:nvPr/>
        </p:nvSpPr>
        <p:spPr bwMode="auto">
          <a:xfrm>
            <a:off x="9529763" y="3620692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>
                <a:solidFill>
                  <a:srgbClr val="FFFFFF"/>
                </a:solidFill>
                <a:ea typeface="宋体" panose="02010600030101010101" pitchFamily="2" charset="-122"/>
              </a:rPr>
              <a:t>224,142,121</a:t>
            </a:r>
          </a:p>
        </p:txBody>
      </p:sp>
      <p:sp>
        <p:nvSpPr>
          <p:cNvPr id="18" name="Rectangle 50"/>
          <p:cNvSpPr>
            <a:spLocks noChangeArrowheads="1"/>
          </p:cNvSpPr>
          <p:nvPr/>
        </p:nvSpPr>
        <p:spPr bwMode="auto">
          <a:xfrm>
            <a:off x="9242426" y="3796881"/>
            <a:ext cx="360363" cy="300082"/>
          </a:xfrm>
          <a:prstGeom prst="rect">
            <a:avLst/>
          </a:prstGeom>
          <a:solidFill>
            <a:srgbClr val="CC000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9" name="Text Box 51"/>
          <p:cNvSpPr txBox="1">
            <a:spLocks noChangeArrowheads="1"/>
          </p:cNvSpPr>
          <p:nvPr/>
        </p:nvSpPr>
        <p:spPr bwMode="auto">
          <a:xfrm>
            <a:off x="9531350" y="384452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>
                <a:solidFill>
                  <a:srgbClr val="FFFFFF"/>
                </a:solidFill>
                <a:ea typeface="宋体" panose="02010600030101010101" pitchFamily="2" charset="-122"/>
              </a:rPr>
              <a:t>204,0,0</a:t>
            </a:r>
          </a:p>
        </p:txBody>
      </p:sp>
      <p:sp>
        <p:nvSpPr>
          <p:cNvPr id="20" name="Text Box 52"/>
          <p:cNvSpPr txBox="1">
            <a:spLocks noChangeArrowheads="1"/>
          </p:cNvSpPr>
          <p:nvPr/>
        </p:nvSpPr>
        <p:spPr bwMode="auto">
          <a:xfrm>
            <a:off x="9531350" y="4324350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>
                <a:solidFill>
                  <a:srgbClr val="FFFFFF"/>
                </a:solidFill>
                <a:ea typeface="宋体" panose="02010600030101010101" pitchFamily="2" charset="-122"/>
              </a:rPr>
              <a:t>15,75,105</a:t>
            </a:r>
          </a:p>
        </p:txBody>
      </p:sp>
      <p:sp>
        <p:nvSpPr>
          <p:cNvPr id="21" name="Rectangle 53"/>
          <p:cNvSpPr>
            <a:spLocks noChangeArrowheads="1"/>
          </p:cNvSpPr>
          <p:nvPr/>
        </p:nvSpPr>
        <p:spPr bwMode="auto">
          <a:xfrm>
            <a:off x="9242426" y="4280275"/>
            <a:ext cx="360363" cy="300082"/>
          </a:xfrm>
          <a:prstGeom prst="rect">
            <a:avLst/>
          </a:prstGeom>
          <a:solidFill>
            <a:srgbClr val="0F4B96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22" name="Text Box 54"/>
          <p:cNvSpPr txBox="1">
            <a:spLocks noChangeArrowheads="1"/>
          </p:cNvSpPr>
          <p:nvPr/>
        </p:nvSpPr>
        <p:spPr bwMode="auto">
          <a:xfrm>
            <a:off x="9286876" y="295036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zh-CN" altLang="en-US" sz="900">
                <a:solidFill>
                  <a:srgbClr val="FFFFFF"/>
                </a:solidFill>
                <a:ea typeface="宋体" panose="02010600030101010101" pitchFamily="2" charset="-122"/>
              </a:rPr>
              <a:t>主色系</a:t>
            </a:r>
          </a:p>
        </p:txBody>
      </p:sp>
      <p:sp>
        <p:nvSpPr>
          <p:cNvPr id="23" name="Text Box 55"/>
          <p:cNvSpPr txBox="1">
            <a:spLocks noChangeArrowheads="1"/>
          </p:cNvSpPr>
          <p:nvPr/>
        </p:nvSpPr>
        <p:spPr bwMode="auto">
          <a:xfrm>
            <a:off x="9290051" y="409336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kumimoji="0" lang="zh-CN" altLang="en-US" sz="900">
                <a:solidFill>
                  <a:srgbClr val="FFFFFF"/>
                </a:solidFill>
                <a:ea typeface="宋体" panose="02010600030101010101" pitchFamily="2" charset="-122"/>
              </a:rPr>
              <a:t>辅色系</a:t>
            </a:r>
          </a:p>
        </p:txBody>
      </p:sp>
      <p:sp>
        <p:nvSpPr>
          <p:cNvPr id="24" name="Rectangle 44"/>
          <p:cNvSpPr>
            <a:spLocks noChangeArrowheads="1"/>
          </p:cNvSpPr>
          <p:nvPr/>
        </p:nvSpPr>
        <p:spPr bwMode="auto">
          <a:xfrm>
            <a:off x="9242426" y="2427663"/>
            <a:ext cx="360363" cy="300082"/>
          </a:xfrm>
          <a:prstGeom prst="rect">
            <a:avLst/>
          </a:prstGeom>
          <a:solidFill>
            <a:srgbClr val="FFFFFF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9242426" y="2649119"/>
            <a:ext cx="360363" cy="300082"/>
          </a:xfrm>
          <a:prstGeom prst="rect">
            <a:avLst/>
          </a:prstGeom>
          <a:solidFill>
            <a:srgbClr val="00000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26" name="Text Box 47"/>
          <p:cNvSpPr txBox="1">
            <a:spLocks noChangeArrowheads="1"/>
          </p:cNvSpPr>
          <p:nvPr/>
        </p:nvSpPr>
        <p:spPr bwMode="auto">
          <a:xfrm>
            <a:off x="9540875" y="247292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000,000,000</a:t>
            </a:r>
          </a:p>
        </p:txBody>
      </p:sp>
      <p:sp>
        <p:nvSpPr>
          <p:cNvPr id="27" name="Text Box 48"/>
          <p:cNvSpPr txBox="1">
            <a:spLocks noChangeArrowheads="1"/>
          </p:cNvSpPr>
          <p:nvPr/>
        </p:nvSpPr>
        <p:spPr bwMode="auto">
          <a:xfrm>
            <a:off x="9540875" y="2695576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55,255,255</a:t>
            </a:r>
          </a:p>
        </p:txBody>
      </p:sp>
      <p:sp>
        <p:nvSpPr>
          <p:cNvPr id="28" name="Text Box 54"/>
          <p:cNvSpPr txBox="1">
            <a:spLocks noChangeArrowheads="1"/>
          </p:cNvSpPr>
          <p:nvPr/>
        </p:nvSpPr>
        <p:spPr bwMode="auto">
          <a:xfrm>
            <a:off x="9297989" y="2247900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zh-CN" altLang="en-US" sz="900" dirty="0">
                <a:solidFill>
                  <a:srgbClr val="FFFFFF"/>
                </a:solidFill>
                <a:ea typeface="宋体" panose="02010600030101010101" pitchFamily="2" charset="-122"/>
              </a:rPr>
              <a:t>文字</a:t>
            </a:r>
          </a:p>
        </p:txBody>
      </p:sp>
      <p:sp>
        <p:nvSpPr>
          <p:cNvPr id="29" name="Text Box 8"/>
          <p:cNvSpPr txBox="1">
            <a:spLocks noChangeArrowheads="1"/>
          </p:cNvSpPr>
          <p:nvPr/>
        </p:nvSpPr>
        <p:spPr bwMode="auto">
          <a:xfrm>
            <a:off x="3276600" y="4948237"/>
            <a:ext cx="1905905" cy="181909"/>
          </a:xfrm>
          <a:prstGeom prst="rect">
            <a:avLst/>
          </a:prstGeom>
          <a:noFill/>
          <a:ln>
            <a:noFill/>
          </a:ln>
        </p:spPr>
        <p:txBody>
          <a:bodyPr wrap="none" lIns="65849" tIns="32925" rIns="65849" bIns="32925">
            <a:spAutoFit/>
          </a:bodyPr>
          <a:lstStyle>
            <a:lvl1pPr defTabSz="87757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defTabSz="87757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defTabSz="87757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defTabSz="87757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defTabSz="87757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defTabSz="87757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defTabSz="87757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defTabSz="87757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defTabSz="87757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0" hangingPunct="0">
              <a:defRPr/>
            </a:pPr>
            <a:r>
              <a:rPr kumimoji="0" lang="en-US" altLang="zh-CN" sz="750" dirty="0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HINAUNICOM RESEARCH INSTITUTE</a:t>
            </a:r>
          </a:p>
        </p:txBody>
      </p:sp>
      <p:sp>
        <p:nvSpPr>
          <p:cNvPr id="30" name="Rectangle 21"/>
          <p:cNvSpPr>
            <a:spLocks noChangeArrowheads="1"/>
          </p:cNvSpPr>
          <p:nvPr/>
        </p:nvSpPr>
        <p:spPr bwMode="auto">
          <a:xfrm rot="18906758">
            <a:off x="8264525" y="4734108"/>
            <a:ext cx="1055688" cy="297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5822" tIns="32909" rIns="65822" bIns="32909">
            <a:spAutoFit/>
          </a:bodyPr>
          <a:lstStyle>
            <a:lvl1pPr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algn="ctr"/>
            <a:r>
              <a:rPr lang="en-US" altLang="zh-CN" sz="750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hinaUnicom </a:t>
            </a:r>
          </a:p>
          <a:p>
            <a:pPr algn="ctr"/>
            <a:r>
              <a:rPr lang="en-US" altLang="zh-CN" sz="750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onfidential </a:t>
            </a:r>
          </a:p>
        </p:txBody>
      </p:sp>
      <p:sp>
        <p:nvSpPr>
          <p:cNvPr id="3" name="Tit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0" y="108349"/>
            <a:ext cx="8675688" cy="486965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zh-CN" altLang="en-US" dirty="0"/>
              <a:t>标题文本样式：黑体</a:t>
            </a:r>
            <a:r>
              <a:rPr lang="en-US" altLang="zh-CN" dirty="0"/>
              <a:t>/20</a:t>
            </a:r>
            <a:r>
              <a:rPr lang="zh-CN" altLang="en-US" dirty="0"/>
              <a:t>号  </a:t>
            </a:r>
            <a:r>
              <a:rPr lang="en-US" altLang="zh-CN" dirty="0"/>
              <a:t>Arial/20pt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468314" y="735806"/>
            <a:ext cx="8207375" cy="4138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zh-CN" altLang="en-US"/>
              <a:t>第一级内容文本样式：黑体</a:t>
            </a:r>
            <a:r>
              <a:rPr lang="en-US" altLang="zh-CN"/>
              <a:t>/18</a:t>
            </a:r>
            <a:r>
              <a:rPr lang="zh-CN" altLang="en-US"/>
              <a:t>号  </a:t>
            </a:r>
            <a:r>
              <a:rPr lang="en-US" altLang="zh-CN"/>
              <a:t>Arial/18pt</a:t>
            </a:r>
          </a:p>
          <a:p>
            <a:pPr lvl="1"/>
            <a:r>
              <a:rPr lang="zh-CN" altLang="en-US"/>
              <a:t>第二级内容文本样式：华文细黑</a:t>
            </a:r>
            <a:r>
              <a:rPr lang="en-US" altLang="zh-CN"/>
              <a:t>/16</a:t>
            </a:r>
            <a:r>
              <a:rPr lang="zh-CN" altLang="en-US"/>
              <a:t>号  </a:t>
            </a:r>
            <a:r>
              <a:rPr lang="en-US" altLang="zh-CN"/>
              <a:t>Arial/16pt</a:t>
            </a:r>
          </a:p>
          <a:p>
            <a:pPr lvl="2"/>
            <a:r>
              <a:rPr lang="zh-CN" altLang="en-US"/>
              <a:t>第三级内容文本样式：华文细黑</a:t>
            </a:r>
            <a:r>
              <a:rPr lang="en-US" altLang="zh-CN"/>
              <a:t>/14</a:t>
            </a:r>
            <a:r>
              <a:rPr lang="zh-CN" altLang="en-US"/>
              <a:t>号  </a:t>
            </a:r>
            <a:r>
              <a:rPr lang="en-US" altLang="zh-CN"/>
              <a:t>Arial/14pt</a:t>
            </a:r>
          </a:p>
          <a:p>
            <a:pPr lvl="3"/>
            <a:r>
              <a:rPr lang="zh-CN" altLang="en-US"/>
              <a:t>第四级内容文本样式：华文细黑</a:t>
            </a:r>
            <a:r>
              <a:rPr lang="en-US" altLang="zh-CN"/>
              <a:t>/12</a:t>
            </a:r>
            <a:r>
              <a:rPr lang="zh-CN" altLang="en-US"/>
              <a:t>号  </a:t>
            </a:r>
            <a:r>
              <a:rPr lang="en-US" altLang="zh-CN"/>
              <a:t>Arial/12pt</a:t>
            </a:r>
          </a:p>
        </p:txBody>
      </p:sp>
      <p:sp>
        <p:nvSpPr>
          <p:cNvPr id="31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7A5A5-AFAB-4068-B865-694DDB66FBD1}" type="slidenum">
              <a:rPr lang="zh-CN" altLang="en-US">
                <a:solidFill>
                  <a:srgbClr val="000000"/>
                </a:solidFill>
              </a:rPr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60835"/>
      </p:ext>
    </p:extLst>
  </p:cSld>
  <p:clrMapOvr>
    <a:masterClrMapping/>
  </p:clrMapOvr>
  <p:transition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4"/>
          <p:cNvSpPr txBox="1">
            <a:spLocks noChangeArrowheads="1"/>
          </p:cNvSpPr>
          <p:nvPr userDrawn="1"/>
        </p:nvSpPr>
        <p:spPr bwMode="auto">
          <a:xfrm>
            <a:off x="-732396" y="931069"/>
            <a:ext cx="681597" cy="553998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一级标题</a:t>
            </a:r>
          </a:p>
          <a:p>
            <a:pPr algn="r"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华黑</a:t>
            </a: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/Arial</a:t>
            </a:r>
          </a:p>
          <a:p>
            <a:pPr algn="r"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黑色 </a:t>
            </a: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(0,0,0)</a:t>
            </a:r>
          </a:p>
          <a:p>
            <a:pPr algn="r"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6-20</a:t>
            </a: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号</a:t>
            </a:r>
          </a:p>
        </p:txBody>
      </p:sp>
      <p:sp>
        <p:nvSpPr>
          <p:cNvPr id="4" name="Text Box 35"/>
          <p:cNvSpPr txBox="1">
            <a:spLocks noChangeArrowheads="1"/>
          </p:cNvSpPr>
          <p:nvPr userDrawn="1"/>
        </p:nvSpPr>
        <p:spPr bwMode="auto">
          <a:xfrm>
            <a:off x="-684508" y="2015729"/>
            <a:ext cx="654346" cy="553998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正文</a:t>
            </a:r>
          </a:p>
          <a:p>
            <a:pPr algn="r"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华楷</a:t>
            </a: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/Arial</a:t>
            </a:r>
          </a:p>
          <a:p>
            <a:pPr algn="r"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黑色</a:t>
            </a: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(0,0,0)</a:t>
            </a:r>
          </a:p>
          <a:p>
            <a:pPr algn="r"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4-16</a:t>
            </a: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号</a:t>
            </a:r>
          </a:p>
        </p:txBody>
      </p:sp>
      <p:sp>
        <p:nvSpPr>
          <p:cNvPr id="5" name="Text Box 64"/>
          <p:cNvSpPr txBox="1">
            <a:spLocks noChangeArrowheads="1"/>
          </p:cNvSpPr>
          <p:nvPr userDrawn="1"/>
        </p:nvSpPr>
        <p:spPr bwMode="auto">
          <a:xfrm>
            <a:off x="9350376" y="2758680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250,190,0</a:t>
            </a:r>
          </a:p>
        </p:txBody>
      </p:sp>
      <p:sp>
        <p:nvSpPr>
          <p:cNvPr id="6" name="Rectangle 65"/>
          <p:cNvSpPr>
            <a:spLocks noChangeArrowheads="1"/>
          </p:cNvSpPr>
          <p:nvPr userDrawn="1"/>
        </p:nvSpPr>
        <p:spPr bwMode="auto">
          <a:xfrm>
            <a:off x="9237664" y="2693986"/>
            <a:ext cx="179387" cy="313932"/>
          </a:xfrm>
          <a:prstGeom prst="rect">
            <a:avLst/>
          </a:prstGeom>
          <a:solidFill>
            <a:srgbClr val="FABE00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7" name="Rectangle 66"/>
          <p:cNvSpPr>
            <a:spLocks noChangeArrowheads="1"/>
          </p:cNvSpPr>
          <p:nvPr userDrawn="1"/>
        </p:nvSpPr>
        <p:spPr bwMode="auto">
          <a:xfrm>
            <a:off x="9237664" y="2006996"/>
            <a:ext cx="179387" cy="313932"/>
          </a:xfrm>
          <a:prstGeom prst="rect">
            <a:avLst/>
          </a:prstGeom>
          <a:solidFill>
            <a:srgbClr val="A0A0A0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8" name="Text Box 67"/>
          <p:cNvSpPr txBox="1">
            <a:spLocks noChangeArrowheads="1"/>
          </p:cNvSpPr>
          <p:nvPr userDrawn="1"/>
        </p:nvSpPr>
        <p:spPr bwMode="auto">
          <a:xfrm>
            <a:off x="9350376" y="2065736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60,160,160</a:t>
            </a:r>
          </a:p>
        </p:txBody>
      </p:sp>
      <p:sp>
        <p:nvSpPr>
          <p:cNvPr id="9" name="Rectangle 68"/>
          <p:cNvSpPr>
            <a:spLocks noChangeArrowheads="1"/>
          </p:cNvSpPr>
          <p:nvPr userDrawn="1"/>
        </p:nvSpPr>
        <p:spPr bwMode="auto">
          <a:xfrm>
            <a:off x="9237664" y="1117599"/>
            <a:ext cx="179387" cy="313932"/>
          </a:xfrm>
          <a:prstGeom prst="rect">
            <a:avLst/>
          </a:prstGeom>
          <a:solidFill>
            <a:srgbClr val="ECE5CE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0" name="Rectangle 69"/>
          <p:cNvSpPr>
            <a:spLocks noChangeArrowheads="1"/>
          </p:cNvSpPr>
          <p:nvPr userDrawn="1"/>
        </p:nvSpPr>
        <p:spPr bwMode="auto">
          <a:xfrm>
            <a:off x="9237664" y="1339055"/>
            <a:ext cx="179387" cy="313932"/>
          </a:xfrm>
          <a:prstGeom prst="rect">
            <a:avLst/>
          </a:prstGeom>
          <a:solidFill>
            <a:srgbClr val="F1D4AF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1" name="Rectangle 70"/>
          <p:cNvSpPr>
            <a:spLocks noChangeArrowheads="1"/>
          </p:cNvSpPr>
          <p:nvPr userDrawn="1"/>
        </p:nvSpPr>
        <p:spPr bwMode="auto">
          <a:xfrm>
            <a:off x="9237664" y="1560511"/>
            <a:ext cx="179387" cy="313932"/>
          </a:xfrm>
          <a:prstGeom prst="rect">
            <a:avLst/>
          </a:prstGeom>
          <a:solidFill>
            <a:srgbClr val="E08E79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2" name="Text Box 71"/>
          <p:cNvSpPr txBox="1">
            <a:spLocks noChangeArrowheads="1"/>
          </p:cNvSpPr>
          <p:nvPr userDrawn="1"/>
        </p:nvSpPr>
        <p:spPr bwMode="auto">
          <a:xfrm>
            <a:off x="9350376" y="1176339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236,229,206</a:t>
            </a:r>
          </a:p>
        </p:txBody>
      </p:sp>
      <p:sp>
        <p:nvSpPr>
          <p:cNvPr id="13" name="Text Box 72"/>
          <p:cNvSpPr txBox="1">
            <a:spLocks noChangeArrowheads="1"/>
          </p:cNvSpPr>
          <p:nvPr userDrawn="1"/>
        </p:nvSpPr>
        <p:spPr bwMode="auto">
          <a:xfrm>
            <a:off x="9350376" y="1398985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241,212,175</a:t>
            </a:r>
          </a:p>
        </p:txBody>
      </p:sp>
      <p:sp>
        <p:nvSpPr>
          <p:cNvPr id="14" name="Text Box 73"/>
          <p:cNvSpPr txBox="1">
            <a:spLocks noChangeArrowheads="1"/>
          </p:cNvSpPr>
          <p:nvPr userDrawn="1"/>
        </p:nvSpPr>
        <p:spPr bwMode="auto">
          <a:xfrm>
            <a:off x="9350376" y="1621632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224,142,121</a:t>
            </a:r>
          </a:p>
        </p:txBody>
      </p:sp>
      <p:sp>
        <p:nvSpPr>
          <p:cNvPr id="15" name="Rectangle 74"/>
          <p:cNvSpPr>
            <a:spLocks noChangeArrowheads="1"/>
          </p:cNvSpPr>
          <p:nvPr userDrawn="1"/>
        </p:nvSpPr>
        <p:spPr bwMode="auto">
          <a:xfrm>
            <a:off x="9237664" y="1784349"/>
            <a:ext cx="179387" cy="313932"/>
          </a:xfrm>
          <a:prstGeom prst="rect">
            <a:avLst/>
          </a:prstGeom>
          <a:solidFill>
            <a:srgbClr val="CC0000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6" name="Text Box 75"/>
          <p:cNvSpPr txBox="1">
            <a:spLocks noChangeArrowheads="1"/>
          </p:cNvSpPr>
          <p:nvPr userDrawn="1"/>
        </p:nvSpPr>
        <p:spPr bwMode="auto">
          <a:xfrm>
            <a:off x="9351964" y="1845470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204,0,0</a:t>
            </a:r>
          </a:p>
        </p:txBody>
      </p:sp>
      <p:sp>
        <p:nvSpPr>
          <p:cNvPr id="17" name="Text Box 76"/>
          <p:cNvSpPr txBox="1">
            <a:spLocks noChangeArrowheads="1"/>
          </p:cNvSpPr>
          <p:nvPr userDrawn="1"/>
        </p:nvSpPr>
        <p:spPr bwMode="auto">
          <a:xfrm>
            <a:off x="9351964" y="2530079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5,75,105</a:t>
            </a:r>
          </a:p>
        </p:txBody>
      </p:sp>
      <p:sp>
        <p:nvSpPr>
          <p:cNvPr id="18" name="Rectangle 77"/>
          <p:cNvSpPr>
            <a:spLocks noChangeArrowheads="1"/>
          </p:cNvSpPr>
          <p:nvPr userDrawn="1"/>
        </p:nvSpPr>
        <p:spPr bwMode="auto">
          <a:xfrm>
            <a:off x="9237664" y="2472530"/>
            <a:ext cx="179387" cy="313932"/>
          </a:xfrm>
          <a:prstGeom prst="rect">
            <a:avLst/>
          </a:prstGeom>
          <a:solidFill>
            <a:srgbClr val="0F4B96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9" name="Text Box 78"/>
          <p:cNvSpPr txBox="1">
            <a:spLocks noChangeArrowheads="1"/>
          </p:cNvSpPr>
          <p:nvPr userDrawn="1"/>
        </p:nvSpPr>
        <p:spPr bwMode="auto">
          <a:xfrm>
            <a:off x="9280526" y="951311"/>
            <a:ext cx="1052513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主色系</a:t>
            </a:r>
          </a:p>
        </p:txBody>
      </p:sp>
      <p:sp>
        <p:nvSpPr>
          <p:cNvPr id="20" name="Text Box 79"/>
          <p:cNvSpPr txBox="1">
            <a:spLocks noChangeArrowheads="1"/>
          </p:cNvSpPr>
          <p:nvPr userDrawn="1"/>
        </p:nvSpPr>
        <p:spPr bwMode="auto">
          <a:xfrm>
            <a:off x="9315451" y="2350295"/>
            <a:ext cx="1092200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局部</a:t>
            </a: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/</a:t>
            </a: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辅色系</a:t>
            </a:r>
          </a:p>
        </p:txBody>
      </p:sp>
      <p:sp>
        <p:nvSpPr>
          <p:cNvPr id="21" name="Text Box 80"/>
          <p:cNvSpPr txBox="1">
            <a:spLocks noChangeArrowheads="1"/>
          </p:cNvSpPr>
          <p:nvPr userDrawn="1"/>
        </p:nvSpPr>
        <p:spPr bwMode="auto">
          <a:xfrm>
            <a:off x="9417051" y="3808811"/>
            <a:ext cx="1022350" cy="20774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E08E79</a:t>
            </a:r>
            <a:endParaRPr lang="zh-CN" altLang="en-US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2" name="Text Box 81"/>
          <p:cNvSpPr txBox="1">
            <a:spLocks noChangeArrowheads="1"/>
          </p:cNvSpPr>
          <p:nvPr userDrawn="1"/>
        </p:nvSpPr>
        <p:spPr bwMode="auto">
          <a:xfrm>
            <a:off x="9421813" y="4039792"/>
            <a:ext cx="1162050" cy="20774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CC0000</a:t>
            </a:r>
            <a:endParaRPr lang="zh-CN" altLang="en-US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3" name="Rectangle 82"/>
          <p:cNvSpPr>
            <a:spLocks noChangeArrowheads="1"/>
          </p:cNvSpPr>
          <p:nvPr userDrawn="1"/>
        </p:nvSpPr>
        <p:spPr bwMode="auto">
          <a:xfrm>
            <a:off x="9237664" y="4768055"/>
            <a:ext cx="179387" cy="313932"/>
          </a:xfrm>
          <a:prstGeom prst="rect">
            <a:avLst/>
          </a:prstGeom>
          <a:solidFill>
            <a:srgbClr val="FABE00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4" name="Rectangle 83"/>
          <p:cNvSpPr>
            <a:spLocks noChangeArrowheads="1"/>
          </p:cNvSpPr>
          <p:nvPr userDrawn="1"/>
        </p:nvSpPr>
        <p:spPr bwMode="auto">
          <a:xfrm>
            <a:off x="9237664" y="4212034"/>
            <a:ext cx="179387" cy="313932"/>
          </a:xfrm>
          <a:prstGeom prst="rect">
            <a:avLst/>
          </a:prstGeom>
          <a:solidFill>
            <a:srgbClr val="A0A0A0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5" name="Rectangle 84"/>
          <p:cNvSpPr>
            <a:spLocks noChangeArrowheads="1"/>
          </p:cNvSpPr>
          <p:nvPr userDrawn="1"/>
        </p:nvSpPr>
        <p:spPr bwMode="auto">
          <a:xfrm>
            <a:off x="9237664" y="3322636"/>
            <a:ext cx="179387" cy="313932"/>
          </a:xfrm>
          <a:prstGeom prst="rect">
            <a:avLst/>
          </a:prstGeom>
          <a:solidFill>
            <a:srgbClr val="ECE5CE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6" name="Rectangle 85"/>
          <p:cNvSpPr>
            <a:spLocks noChangeArrowheads="1"/>
          </p:cNvSpPr>
          <p:nvPr userDrawn="1"/>
        </p:nvSpPr>
        <p:spPr bwMode="auto">
          <a:xfrm>
            <a:off x="9237664" y="3544093"/>
            <a:ext cx="179387" cy="313932"/>
          </a:xfrm>
          <a:prstGeom prst="rect">
            <a:avLst/>
          </a:prstGeom>
          <a:solidFill>
            <a:srgbClr val="F1D4AF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7" name="Rectangle 86"/>
          <p:cNvSpPr>
            <a:spLocks noChangeArrowheads="1"/>
          </p:cNvSpPr>
          <p:nvPr userDrawn="1"/>
        </p:nvSpPr>
        <p:spPr bwMode="auto">
          <a:xfrm>
            <a:off x="9237664" y="3765549"/>
            <a:ext cx="179387" cy="313932"/>
          </a:xfrm>
          <a:prstGeom prst="rect">
            <a:avLst/>
          </a:prstGeom>
          <a:solidFill>
            <a:srgbClr val="E08E79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8" name="Rectangle 87"/>
          <p:cNvSpPr>
            <a:spLocks noChangeArrowheads="1"/>
          </p:cNvSpPr>
          <p:nvPr userDrawn="1"/>
        </p:nvSpPr>
        <p:spPr bwMode="auto">
          <a:xfrm>
            <a:off x="9237664" y="3989386"/>
            <a:ext cx="179387" cy="313932"/>
          </a:xfrm>
          <a:prstGeom prst="rect">
            <a:avLst/>
          </a:prstGeom>
          <a:solidFill>
            <a:srgbClr val="CC0000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9" name="Rectangle 88"/>
          <p:cNvSpPr>
            <a:spLocks noChangeArrowheads="1"/>
          </p:cNvSpPr>
          <p:nvPr userDrawn="1"/>
        </p:nvSpPr>
        <p:spPr bwMode="auto">
          <a:xfrm>
            <a:off x="9237664" y="4546599"/>
            <a:ext cx="179387" cy="313932"/>
          </a:xfrm>
          <a:prstGeom prst="rect">
            <a:avLst/>
          </a:prstGeom>
          <a:solidFill>
            <a:srgbClr val="0F4B96"/>
          </a:solidFill>
          <a:ln w="12700" algn="ctr">
            <a:solidFill>
              <a:schemeClr val="bg1"/>
            </a:solidFill>
            <a:miter lim="800000"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endParaRPr kumimoji="1" lang="zh-CN" altLang="en-US" sz="120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30" name="Text Box 89"/>
          <p:cNvSpPr txBox="1">
            <a:spLocks noChangeArrowheads="1"/>
          </p:cNvSpPr>
          <p:nvPr userDrawn="1"/>
        </p:nvSpPr>
        <p:spPr bwMode="auto">
          <a:xfrm>
            <a:off x="9417050" y="3382567"/>
            <a:ext cx="1036638" cy="20774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ECE5CE</a:t>
            </a:r>
            <a:endParaRPr lang="zh-CN" altLang="en-US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1" name="Text Box 90"/>
          <p:cNvSpPr txBox="1">
            <a:spLocks noChangeArrowheads="1"/>
          </p:cNvSpPr>
          <p:nvPr userDrawn="1"/>
        </p:nvSpPr>
        <p:spPr bwMode="auto">
          <a:xfrm>
            <a:off x="9429751" y="3586163"/>
            <a:ext cx="1092200" cy="20774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F1D4AF</a:t>
            </a:r>
            <a:endParaRPr lang="zh-CN" altLang="en-US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2" name="Text Box 91"/>
          <p:cNvSpPr txBox="1">
            <a:spLocks noChangeArrowheads="1"/>
          </p:cNvSpPr>
          <p:nvPr userDrawn="1"/>
        </p:nvSpPr>
        <p:spPr bwMode="auto">
          <a:xfrm>
            <a:off x="9421814" y="4264820"/>
            <a:ext cx="1174750" cy="20774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A0A0A0</a:t>
            </a:r>
            <a:endParaRPr lang="zh-CN" altLang="en-US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3" name="Text Box 92"/>
          <p:cNvSpPr txBox="1">
            <a:spLocks noChangeArrowheads="1"/>
          </p:cNvSpPr>
          <p:nvPr userDrawn="1"/>
        </p:nvSpPr>
        <p:spPr bwMode="auto">
          <a:xfrm>
            <a:off x="9421814" y="4624389"/>
            <a:ext cx="1019175" cy="20774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0F4B69</a:t>
            </a:r>
            <a:endParaRPr lang="zh-CN" altLang="en-US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4" name="Rectangle 93"/>
          <p:cNvSpPr>
            <a:spLocks noChangeArrowheads="1"/>
          </p:cNvSpPr>
          <p:nvPr userDrawn="1"/>
        </p:nvSpPr>
        <p:spPr bwMode="auto">
          <a:xfrm>
            <a:off x="9415463" y="4850607"/>
            <a:ext cx="1192212" cy="20774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FA</a:t>
            </a: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BE00</a:t>
            </a:r>
            <a:endParaRPr lang="zh-CN" altLang="en-US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5" name="Text Box 94"/>
          <p:cNvSpPr txBox="1">
            <a:spLocks noChangeArrowheads="1"/>
          </p:cNvSpPr>
          <p:nvPr userDrawn="1"/>
        </p:nvSpPr>
        <p:spPr bwMode="auto">
          <a:xfrm>
            <a:off x="9263063" y="3112295"/>
            <a:ext cx="1677987" cy="20774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SwiffChart 16</a:t>
            </a:r>
            <a:r>
              <a:rPr lang="zh-CN" altLang="en-US" sz="75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进制编号</a:t>
            </a:r>
            <a:endParaRPr lang="en-US" altLang="zh-CN" sz="750">
              <a:solidFill>
                <a:srgbClr val="FFFFFF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cxnSp>
        <p:nvCxnSpPr>
          <p:cNvPr id="36" name="直接连接符 35"/>
          <p:cNvCxnSpPr>
            <a:cxnSpLocks noChangeShapeType="1"/>
          </p:cNvCxnSpPr>
          <p:nvPr userDrawn="1"/>
        </p:nvCxnSpPr>
        <p:spPr bwMode="auto">
          <a:xfrm>
            <a:off x="0" y="716756"/>
            <a:ext cx="9144000" cy="0"/>
          </a:xfrm>
          <a:prstGeom prst="line">
            <a:avLst/>
          </a:prstGeom>
          <a:noFill/>
          <a:ln w="19050" algn="ctr">
            <a:solidFill>
              <a:schemeClr val="accent2"/>
            </a:solidFill>
            <a:round/>
          </a:ln>
          <a:effectLst>
            <a:outerShdw dist="20000" dir="5400000" rotWithShape="0">
              <a:srgbClr val="B2B2B2">
                <a:alpha val="37999"/>
              </a:srgbClr>
            </a:outerShdw>
          </a:effectLst>
        </p:spPr>
      </p:cxnSp>
      <p:pic>
        <p:nvPicPr>
          <p:cNvPr id="37" name="Picture 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13" t="10342" r="12415" b="6898"/>
          <a:stretch>
            <a:fillRect/>
          </a:stretch>
        </p:blipFill>
        <p:spPr bwMode="auto">
          <a:xfrm>
            <a:off x="7470775" y="39291"/>
            <a:ext cx="1379538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9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FEEFFA-80AD-4EE8-94CF-F3955E9CD3DD}" type="slidenum">
              <a:rPr lang="zh-CN" altLang="en-US">
                <a:solidFill>
                  <a:srgbClr val="000000"/>
                </a:solidFill>
              </a:r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238589"/>
      </p:ext>
    </p:extLst>
  </p:cSld>
  <p:clrMapOvr>
    <a:masterClrMapping/>
  </p:clrMapOvr>
  <p:transition/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404" y="897565"/>
            <a:ext cx="8641085" cy="3844528"/>
          </a:xfrm>
        </p:spPr>
        <p:txBody>
          <a:bodyPr/>
          <a:lstStyle>
            <a:lvl1pPr>
              <a:lnSpc>
                <a:spcPts val="1875"/>
              </a:lnSpc>
              <a:buFont typeface="Wingdings" panose="05000000000000000000" pitchFamily="2" charset="2"/>
              <a:buChar char="p"/>
              <a:defRPr sz="1350" b="1" baseline="0">
                <a:latin typeface="Times New Roman" panose="02020603050405020304" pitchFamily="18" charset="0"/>
                <a:ea typeface="华文细黑" panose="02010600040101010101" pitchFamily="2" charset="-122"/>
              </a:defRPr>
            </a:lvl1pPr>
            <a:lvl2pPr>
              <a:lnSpc>
                <a:spcPts val="1875"/>
              </a:lnSpc>
              <a:defRPr sz="1200" baseline="0">
                <a:latin typeface="Times New Roman" panose="02020603050405020304" pitchFamily="18" charset="0"/>
                <a:ea typeface="华文细黑" panose="02010600040101010101" pitchFamily="2" charset="-122"/>
              </a:defRPr>
            </a:lvl2pPr>
            <a:lvl3pPr>
              <a:lnSpc>
                <a:spcPts val="1875"/>
              </a:lnSpc>
              <a:buClr>
                <a:srgbClr val="FF0000"/>
              </a:buClr>
              <a:buSzPct val="75000"/>
              <a:defRPr sz="1050" baseline="0">
                <a:latin typeface="Times New Roman" panose="02020603050405020304" pitchFamily="18" charset="0"/>
                <a:ea typeface="华文细黑" panose="02010600040101010101" pitchFamily="2" charset="-122"/>
              </a:defRPr>
            </a:lvl3pPr>
            <a:lvl4pPr>
              <a:defRPr>
                <a:latin typeface="黑体" panose="02010609060101010101" pitchFamily="2" charset="-122"/>
                <a:ea typeface="黑体" panose="02010609060101010101" pitchFamily="2" charset="-122"/>
              </a:defRPr>
            </a:lvl4pPr>
            <a:lvl5pPr>
              <a:defRPr>
                <a:latin typeface="黑体" panose="02010609060101010101" pitchFamily="2" charset="-122"/>
                <a:ea typeface="黑体" panose="02010609060101010101" pitchFamily="2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99400" y="205980"/>
            <a:ext cx="6000792" cy="383381"/>
          </a:xfrm>
        </p:spPr>
        <p:txBody>
          <a:bodyPr/>
          <a:lstStyle>
            <a:lvl1pPr algn="l">
              <a:defRPr sz="2100">
                <a:latin typeface="宋体" panose="02010600030101010101" pitchFamily="2" charset="-122"/>
                <a:ea typeface="宋体" panose="02010600030101010101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03867-BDA6-4BF7-8DEB-5735AFDB1DD5}" type="slidenum">
              <a:rPr lang="zh-CN" altLang="en-US">
                <a:solidFill>
                  <a:prstClr val="black"/>
                </a:solidFill>
              </a:rPr>
              <a:t>‹#›</a:t>
            </a:fld>
            <a:endParaRPr lang="en-US" altLang="zh-C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389728"/>
      </p:ext>
    </p:extLst>
  </p:cSld>
  <p:clrMapOvr>
    <a:masterClrMapping/>
  </p:clrMapOvr>
  <p:transition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2A1E14-E7EA-48AC-AEAD-F04F1BAEA245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en-US" altLang="zh-C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319377"/>
      </p:ext>
    </p:extLst>
  </p:cSld>
  <p:clrMapOvr>
    <a:masterClrMapping/>
  </p:clrMapOvr>
  <p:transition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500" baseline="0">
                <a:latin typeface="Times New Roman" panose="02020603050405020304" pitchFamily="18" charset="0"/>
                <a:ea typeface="华文细黑" panose="02010600040101010101" pitchFamily="2" charset="-122"/>
              </a:defRPr>
            </a:lvl1pPr>
            <a:lvl2pPr>
              <a:defRPr sz="1350" baseline="0">
                <a:latin typeface="Times New Roman" panose="02020603050405020304" pitchFamily="18" charset="0"/>
                <a:ea typeface="华文细黑" panose="02010600040101010101" pitchFamily="2" charset="-122"/>
              </a:defRPr>
            </a:lvl2pPr>
            <a:lvl3pPr>
              <a:defRPr sz="1200" baseline="0">
                <a:latin typeface="Times New Roman" panose="02020603050405020304" pitchFamily="18" charset="0"/>
                <a:ea typeface="华文细黑" panose="02010600040101010101" pitchFamily="2" charset="-122"/>
              </a:defRPr>
            </a:lvl3pPr>
            <a:lvl4pPr>
              <a:defRPr>
                <a:latin typeface="黑体" panose="02010609060101010101" pitchFamily="2" charset="-122"/>
                <a:ea typeface="黑体" panose="02010609060101010101" pitchFamily="2" charset="-122"/>
              </a:defRPr>
            </a:lvl4pPr>
            <a:lvl5pPr>
              <a:defRPr>
                <a:latin typeface="黑体" panose="02010609060101010101" pitchFamily="2" charset="-122"/>
                <a:ea typeface="黑体" panose="02010609060101010101" pitchFamily="2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99400" y="205980"/>
            <a:ext cx="6000792" cy="383381"/>
          </a:xfrm>
        </p:spPr>
        <p:txBody>
          <a:bodyPr/>
          <a:lstStyle>
            <a:lvl1pPr algn="l">
              <a:defRPr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AF54D70-2075-480C-906F-D4A96FE0FE0A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en-US" altLang="zh-C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020374"/>
      </p:ext>
    </p:extLst>
  </p:cSld>
  <p:clrMapOvr>
    <a:masterClrMapping/>
  </p:clrMapOvr>
  <p:transition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4"/>
          <p:cNvSpPr txBox="1">
            <a:spLocks noChangeArrowheads="1"/>
          </p:cNvSpPr>
          <p:nvPr userDrawn="1"/>
        </p:nvSpPr>
        <p:spPr bwMode="auto">
          <a:xfrm>
            <a:off x="-1186568" y="-20241"/>
            <a:ext cx="1164343" cy="816212"/>
          </a:xfrm>
          <a:prstGeom prst="rect">
            <a:avLst/>
          </a:prstGeom>
          <a:noFill/>
          <a:ln>
            <a:noFill/>
          </a:ln>
        </p:spPr>
        <p:txBody>
          <a:bodyPr wrap="none"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一级标题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/24</a:t>
            </a: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号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编号</a:t>
            </a:r>
            <a:endParaRPr kumimoji="0" lang="en-US" altLang="zh-CN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Calibri/</a:t>
            </a: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红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(250,0,0)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文字</a:t>
            </a:r>
            <a:endParaRPr kumimoji="0" lang="en-US" altLang="zh-CN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华文细黑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/</a:t>
            </a: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黑 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(0,0,0)</a:t>
            </a:r>
          </a:p>
        </p:txBody>
      </p:sp>
      <p:sp>
        <p:nvSpPr>
          <p:cNvPr id="5" name="Text Box 35"/>
          <p:cNvSpPr txBox="1">
            <a:spLocks noChangeArrowheads="1"/>
          </p:cNvSpPr>
          <p:nvPr userDrawn="1"/>
        </p:nvSpPr>
        <p:spPr bwMode="auto">
          <a:xfrm>
            <a:off x="-1024665" y="2345532"/>
            <a:ext cx="1002440" cy="966253"/>
          </a:xfrm>
          <a:prstGeom prst="rect">
            <a:avLst/>
          </a:prstGeom>
          <a:noFill/>
          <a:ln>
            <a:noFill/>
          </a:ln>
        </p:spPr>
        <p:txBody>
          <a:bodyPr wrap="none"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正文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华文细黑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/Calibri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辅助</a:t>
            </a:r>
            <a:endParaRPr kumimoji="0" lang="en-US" altLang="zh-CN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Calibri" panose="020F0502020204030204" pitchFamily="34" charset="0"/>
              </a:rPr>
              <a:t>华文楷体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/Calibri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黑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(0,0,0)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14-16</a:t>
            </a: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号</a:t>
            </a:r>
          </a:p>
        </p:txBody>
      </p:sp>
      <p:sp>
        <p:nvSpPr>
          <p:cNvPr id="6" name="Rectangle 66"/>
          <p:cNvSpPr>
            <a:spLocks noChangeArrowheads="1"/>
          </p:cNvSpPr>
          <p:nvPr userDrawn="1"/>
        </p:nvSpPr>
        <p:spPr bwMode="auto">
          <a:xfrm>
            <a:off x="9237663" y="3557790"/>
            <a:ext cx="144462" cy="246056"/>
          </a:xfrm>
          <a:prstGeom prst="rect">
            <a:avLst/>
          </a:prstGeom>
          <a:solidFill>
            <a:srgbClr val="787878"/>
          </a:solidFill>
          <a:ln w="12700" algn="ctr">
            <a:solidFill>
              <a:schemeClr val="bg1"/>
            </a:solidFill>
            <a:miter lim="800000"/>
          </a:ln>
        </p:spPr>
        <p:txBody>
          <a:bodyPr lIns="65366" tIns="32684" rIns="65366" bIns="32684" anchor="ctr">
            <a:spAutoFit/>
          </a:bodyPr>
          <a:lstStyle/>
          <a:p>
            <a:pPr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sz="975">
              <a:solidFill>
                <a:srgbClr val="333399"/>
              </a:solidFill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7" name="Text Box 67"/>
          <p:cNvSpPr txBox="1">
            <a:spLocks noChangeArrowheads="1"/>
          </p:cNvSpPr>
          <p:nvPr userDrawn="1"/>
        </p:nvSpPr>
        <p:spPr bwMode="auto">
          <a:xfrm>
            <a:off x="9378950" y="3571876"/>
            <a:ext cx="1236663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120,120,120</a:t>
            </a:r>
          </a:p>
        </p:txBody>
      </p:sp>
      <p:sp>
        <p:nvSpPr>
          <p:cNvPr id="8" name="Rectangle 68"/>
          <p:cNvSpPr>
            <a:spLocks noChangeArrowheads="1"/>
          </p:cNvSpPr>
          <p:nvPr userDrawn="1"/>
        </p:nvSpPr>
        <p:spPr bwMode="auto">
          <a:xfrm>
            <a:off x="9237663" y="1638502"/>
            <a:ext cx="144462" cy="246056"/>
          </a:xfrm>
          <a:prstGeom prst="rect">
            <a:avLst/>
          </a:prstGeom>
          <a:solidFill>
            <a:srgbClr val="CD0000"/>
          </a:solidFill>
          <a:ln w="12700" algn="ctr">
            <a:solidFill>
              <a:schemeClr val="bg1"/>
            </a:solidFill>
            <a:miter lim="800000"/>
          </a:ln>
        </p:spPr>
        <p:txBody>
          <a:bodyPr lIns="65366" tIns="32684" rIns="65366" bIns="32684" anchor="ctr">
            <a:spAutoFit/>
          </a:bodyPr>
          <a:lstStyle/>
          <a:p>
            <a:pPr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sz="975">
              <a:solidFill>
                <a:srgbClr val="333399"/>
              </a:solidFill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9" name="Rectangle 70"/>
          <p:cNvSpPr>
            <a:spLocks noChangeArrowheads="1"/>
          </p:cNvSpPr>
          <p:nvPr userDrawn="1"/>
        </p:nvSpPr>
        <p:spPr bwMode="auto">
          <a:xfrm>
            <a:off x="9237663" y="1898059"/>
            <a:ext cx="144462" cy="246056"/>
          </a:xfrm>
          <a:prstGeom prst="rect">
            <a:avLst/>
          </a:prstGeom>
          <a:solidFill>
            <a:srgbClr val="A0A0A0"/>
          </a:solidFill>
          <a:ln w="12700" algn="ctr">
            <a:solidFill>
              <a:schemeClr val="bg1"/>
            </a:solidFill>
            <a:miter lim="800000"/>
          </a:ln>
        </p:spPr>
        <p:txBody>
          <a:bodyPr lIns="65366" tIns="32684" rIns="65366" bIns="32684" anchor="ctr">
            <a:spAutoFit/>
          </a:bodyPr>
          <a:lstStyle/>
          <a:p>
            <a:pPr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sz="975">
              <a:solidFill>
                <a:srgbClr val="333399"/>
              </a:solidFill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0" name="Text Box 71"/>
          <p:cNvSpPr txBox="1">
            <a:spLocks noChangeArrowheads="1"/>
          </p:cNvSpPr>
          <p:nvPr userDrawn="1"/>
        </p:nvSpPr>
        <p:spPr bwMode="auto">
          <a:xfrm>
            <a:off x="9378950" y="1659731"/>
            <a:ext cx="1236663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205,0,0</a:t>
            </a:r>
          </a:p>
        </p:txBody>
      </p:sp>
      <p:sp>
        <p:nvSpPr>
          <p:cNvPr id="11" name="Text Box 73"/>
          <p:cNvSpPr txBox="1">
            <a:spLocks noChangeArrowheads="1"/>
          </p:cNvSpPr>
          <p:nvPr userDrawn="1"/>
        </p:nvSpPr>
        <p:spPr bwMode="auto">
          <a:xfrm>
            <a:off x="9378951" y="1924050"/>
            <a:ext cx="1452563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160,160,160</a:t>
            </a:r>
          </a:p>
        </p:txBody>
      </p:sp>
      <p:cxnSp>
        <p:nvCxnSpPr>
          <p:cNvPr id="12" name="直接连接符 12"/>
          <p:cNvCxnSpPr>
            <a:cxnSpLocks noChangeShapeType="1"/>
          </p:cNvCxnSpPr>
          <p:nvPr userDrawn="1"/>
        </p:nvCxnSpPr>
        <p:spPr bwMode="auto">
          <a:xfrm>
            <a:off x="0" y="716756"/>
            <a:ext cx="9144000" cy="0"/>
          </a:xfrm>
          <a:prstGeom prst="line">
            <a:avLst/>
          </a:prstGeom>
          <a:noFill/>
          <a:ln w="19050" algn="ctr">
            <a:solidFill>
              <a:schemeClr val="accent2"/>
            </a:solidFill>
            <a:round/>
          </a:ln>
          <a:effectLst>
            <a:outerShdw dist="20000" dir="5400000" rotWithShape="0">
              <a:srgbClr val="B2B2B2">
                <a:alpha val="37999"/>
              </a:srgbClr>
            </a:outerShdw>
          </a:effectLst>
        </p:spPr>
      </p:cxnSp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2" cstate="print"/>
          <a:srcRect l="10513" t="10342" r="12415" b="6898"/>
          <a:stretch>
            <a:fillRect/>
          </a:stretch>
        </p:blipFill>
        <p:spPr bwMode="auto">
          <a:xfrm>
            <a:off x="7470775" y="39291"/>
            <a:ext cx="13795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0" descr="C:\Users\vivianting\Desktop\未标题8.png"/>
          <p:cNvPicPr>
            <a:picLocks noChangeAspect="1" noChangeArrowheads="1"/>
          </p:cNvPicPr>
          <p:nvPr userDrawn="1"/>
        </p:nvPicPr>
        <p:blipFill>
          <a:blip r:embed="rId3" cstate="print"/>
          <a:srcRect l="4971" t="1717" r="74190" b="70428"/>
          <a:stretch>
            <a:fillRect/>
          </a:stretch>
        </p:blipFill>
        <p:spPr bwMode="auto">
          <a:xfrm>
            <a:off x="7786689" y="3964782"/>
            <a:ext cx="1357312" cy="117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111"/>
          <p:cNvSpPr txBox="1">
            <a:spLocks noChangeArrowheads="1"/>
          </p:cNvSpPr>
          <p:nvPr userDrawn="1"/>
        </p:nvSpPr>
        <p:spPr bwMode="auto">
          <a:xfrm>
            <a:off x="9378950" y="4229101"/>
            <a:ext cx="1236663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250,0,0</a:t>
            </a:r>
          </a:p>
        </p:txBody>
      </p:sp>
      <p:sp>
        <p:nvSpPr>
          <p:cNvPr id="16" name="Rectangle 112"/>
          <p:cNvSpPr>
            <a:spLocks noChangeArrowheads="1"/>
          </p:cNvSpPr>
          <p:nvPr userDrawn="1"/>
        </p:nvSpPr>
        <p:spPr bwMode="auto">
          <a:xfrm>
            <a:off x="9237663" y="4223944"/>
            <a:ext cx="144462" cy="246056"/>
          </a:xfrm>
          <a:prstGeom prst="rect">
            <a:avLst/>
          </a:prstGeom>
          <a:solidFill>
            <a:srgbClr val="FF0000"/>
          </a:solidFill>
          <a:ln w="12700" algn="ctr">
            <a:solidFill>
              <a:schemeClr val="bg1"/>
            </a:solidFill>
            <a:miter lim="800000"/>
          </a:ln>
        </p:spPr>
        <p:txBody>
          <a:bodyPr lIns="65366" tIns="32684" rIns="65366" bIns="32684" anchor="ctr">
            <a:spAutoFit/>
          </a:bodyPr>
          <a:lstStyle/>
          <a:p>
            <a:pPr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sz="975">
              <a:solidFill>
                <a:srgbClr val="333399"/>
              </a:solidFill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7" name="Text Box 118"/>
          <p:cNvSpPr txBox="1">
            <a:spLocks noChangeArrowheads="1"/>
          </p:cNvSpPr>
          <p:nvPr userDrawn="1"/>
        </p:nvSpPr>
        <p:spPr bwMode="auto">
          <a:xfrm>
            <a:off x="9240839" y="3974307"/>
            <a:ext cx="660400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强调</a:t>
            </a:r>
          </a:p>
        </p:txBody>
      </p:sp>
      <p:sp>
        <p:nvSpPr>
          <p:cNvPr id="18" name="Text Box 120"/>
          <p:cNvSpPr txBox="1">
            <a:spLocks noChangeArrowheads="1"/>
          </p:cNvSpPr>
          <p:nvPr userDrawn="1"/>
        </p:nvSpPr>
        <p:spPr bwMode="auto">
          <a:xfrm>
            <a:off x="9240838" y="1438275"/>
            <a:ext cx="1116012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图表配色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A</a:t>
            </a:r>
            <a:endParaRPr kumimoji="0" lang="zh-CN" altLang="en-US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9" name="Text Box 121"/>
          <p:cNvSpPr txBox="1">
            <a:spLocks noChangeArrowheads="1"/>
          </p:cNvSpPr>
          <p:nvPr userDrawn="1"/>
        </p:nvSpPr>
        <p:spPr bwMode="auto">
          <a:xfrm>
            <a:off x="9240839" y="3336132"/>
            <a:ext cx="660400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边框</a:t>
            </a:r>
          </a:p>
        </p:txBody>
      </p:sp>
      <p:sp>
        <p:nvSpPr>
          <p:cNvPr id="20" name="Text Box 34"/>
          <p:cNvSpPr txBox="1">
            <a:spLocks noChangeArrowheads="1"/>
          </p:cNvSpPr>
          <p:nvPr userDrawn="1"/>
        </p:nvSpPr>
        <p:spPr bwMode="auto">
          <a:xfrm>
            <a:off x="-1186568" y="884636"/>
            <a:ext cx="1164343" cy="816212"/>
          </a:xfrm>
          <a:prstGeom prst="rect">
            <a:avLst/>
          </a:prstGeom>
          <a:noFill/>
          <a:ln>
            <a:noFill/>
          </a:ln>
        </p:spPr>
        <p:txBody>
          <a:bodyPr wrap="none"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二级标题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/16-18</a:t>
            </a: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号</a:t>
            </a:r>
            <a:endParaRPr kumimoji="0" lang="en-US" altLang="zh-CN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项目符号</a:t>
            </a:r>
            <a:endParaRPr kumimoji="0" lang="en-US" altLang="zh-CN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Calibri/</a:t>
            </a: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红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(250,0,0)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文字</a:t>
            </a:r>
            <a:endParaRPr kumimoji="0" lang="en-US" altLang="zh-CN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华文细黑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/</a:t>
            </a: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黑 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(0,0,0)</a:t>
            </a:r>
          </a:p>
        </p:txBody>
      </p:sp>
      <p:sp>
        <p:nvSpPr>
          <p:cNvPr id="21" name="Rectangle 68"/>
          <p:cNvSpPr>
            <a:spLocks noChangeArrowheads="1"/>
          </p:cNvSpPr>
          <p:nvPr userDrawn="1"/>
        </p:nvSpPr>
        <p:spPr bwMode="auto">
          <a:xfrm>
            <a:off x="9237663" y="2576119"/>
            <a:ext cx="144462" cy="246056"/>
          </a:xfrm>
          <a:prstGeom prst="rect">
            <a:avLst/>
          </a:prstGeom>
          <a:solidFill>
            <a:srgbClr val="CD0000"/>
          </a:solidFill>
          <a:ln w="12700" algn="ctr">
            <a:solidFill>
              <a:schemeClr val="bg1"/>
            </a:solidFill>
            <a:miter lim="800000"/>
          </a:ln>
        </p:spPr>
        <p:txBody>
          <a:bodyPr lIns="65366" tIns="32684" rIns="65366" bIns="32684" anchor="ctr">
            <a:spAutoFit/>
          </a:bodyPr>
          <a:lstStyle/>
          <a:p>
            <a:pPr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sz="975">
              <a:solidFill>
                <a:srgbClr val="333399"/>
              </a:solidFill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2" name="Rectangle 70"/>
          <p:cNvSpPr>
            <a:spLocks noChangeArrowheads="1"/>
          </p:cNvSpPr>
          <p:nvPr userDrawn="1"/>
        </p:nvSpPr>
        <p:spPr bwMode="auto">
          <a:xfrm>
            <a:off x="9237663" y="2845796"/>
            <a:ext cx="144462" cy="246056"/>
          </a:xfrm>
          <a:prstGeom prst="rect">
            <a:avLst/>
          </a:prstGeom>
          <a:solidFill>
            <a:srgbClr val="004B69"/>
          </a:solidFill>
          <a:ln w="12700" algn="ctr">
            <a:solidFill>
              <a:schemeClr val="bg1"/>
            </a:solidFill>
            <a:miter lim="800000"/>
          </a:ln>
        </p:spPr>
        <p:txBody>
          <a:bodyPr lIns="65366" tIns="32684" rIns="65366" bIns="32684" anchor="ctr">
            <a:spAutoFit/>
          </a:bodyPr>
          <a:lstStyle/>
          <a:p>
            <a:pPr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sz="975">
              <a:solidFill>
                <a:srgbClr val="333399"/>
              </a:solidFill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3" name="Text Box 71"/>
          <p:cNvSpPr txBox="1">
            <a:spLocks noChangeArrowheads="1"/>
          </p:cNvSpPr>
          <p:nvPr userDrawn="1"/>
        </p:nvSpPr>
        <p:spPr bwMode="auto">
          <a:xfrm>
            <a:off x="9380539" y="2596754"/>
            <a:ext cx="1235075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205,0,0</a:t>
            </a:r>
          </a:p>
        </p:txBody>
      </p:sp>
      <p:sp>
        <p:nvSpPr>
          <p:cNvPr id="24" name="Text Box 73"/>
          <p:cNvSpPr txBox="1">
            <a:spLocks noChangeArrowheads="1"/>
          </p:cNvSpPr>
          <p:nvPr userDrawn="1"/>
        </p:nvSpPr>
        <p:spPr bwMode="auto">
          <a:xfrm>
            <a:off x="9380538" y="2840832"/>
            <a:ext cx="1452562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0,75,105</a:t>
            </a:r>
          </a:p>
        </p:txBody>
      </p:sp>
      <p:sp>
        <p:nvSpPr>
          <p:cNvPr id="25" name="Text Box 120"/>
          <p:cNvSpPr txBox="1">
            <a:spLocks noChangeArrowheads="1"/>
          </p:cNvSpPr>
          <p:nvPr userDrawn="1"/>
        </p:nvSpPr>
        <p:spPr bwMode="auto">
          <a:xfrm>
            <a:off x="9240838" y="2376488"/>
            <a:ext cx="1116012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zh-CN" altLang="en-US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图表配色</a:t>
            </a: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B</a:t>
            </a:r>
            <a:endParaRPr kumimoji="0" lang="zh-CN" altLang="en-US" sz="975" dirty="0">
              <a:solidFill>
                <a:srgbClr val="FFFFFF"/>
              </a:solidFill>
              <a:latin typeface="Calibri" panose="020F0502020204030204" pitchFamily="34" charset="0"/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7" name="Text Box 111"/>
          <p:cNvSpPr txBox="1">
            <a:spLocks noChangeArrowheads="1"/>
          </p:cNvSpPr>
          <p:nvPr userDrawn="1"/>
        </p:nvSpPr>
        <p:spPr bwMode="auto">
          <a:xfrm>
            <a:off x="9380539" y="4482704"/>
            <a:ext cx="1235075" cy="216047"/>
          </a:xfrm>
          <a:prstGeom prst="rect">
            <a:avLst/>
          </a:prstGeom>
          <a:noFill/>
          <a:ln>
            <a:noFill/>
          </a:ln>
        </p:spPr>
        <p:txBody>
          <a:bodyPr lIns="65366" tIns="32684" rIns="65366" bIns="32684">
            <a:spAutoFit/>
          </a:bodyPr>
          <a:lstStyle>
            <a:lvl1pPr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rgbClr val="333399"/>
                </a:solidFill>
                <a:latin typeface="华文中宋" panose="02010600040101010101" pitchFamily="2" charset="-122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zh-CN" sz="975" dirty="0">
                <a:solidFill>
                  <a:srgbClr val="FFFFFF"/>
                </a:solidFill>
                <a:latin typeface="Calibri" panose="020F0502020204030204" pitchFamily="34" charset="0"/>
                <a:ea typeface="华文中宋" panose="02010600040101010101" pitchFamily="2" charset="-122"/>
                <a:cs typeface="Calibri" panose="020F0502020204030204" pitchFamily="34" charset="0"/>
              </a:rPr>
              <a:t>255,190,0</a:t>
            </a:r>
          </a:p>
        </p:txBody>
      </p:sp>
      <p:sp>
        <p:nvSpPr>
          <p:cNvPr id="28" name="Rectangle 112"/>
          <p:cNvSpPr>
            <a:spLocks noChangeArrowheads="1"/>
          </p:cNvSpPr>
          <p:nvPr userDrawn="1"/>
        </p:nvSpPr>
        <p:spPr bwMode="auto">
          <a:xfrm>
            <a:off x="9237663" y="4476357"/>
            <a:ext cx="144462" cy="246056"/>
          </a:xfrm>
          <a:prstGeom prst="rect">
            <a:avLst/>
          </a:prstGeom>
          <a:solidFill>
            <a:srgbClr val="FFBE00"/>
          </a:solidFill>
          <a:ln w="12700" algn="ctr">
            <a:solidFill>
              <a:schemeClr val="bg1"/>
            </a:solidFill>
            <a:miter lim="800000"/>
          </a:ln>
        </p:spPr>
        <p:txBody>
          <a:bodyPr lIns="65366" tIns="32684" rIns="65366" bIns="32684" anchor="ctr">
            <a:spAutoFit/>
          </a:bodyPr>
          <a:lstStyle/>
          <a:p>
            <a:pPr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sz="975">
              <a:solidFill>
                <a:srgbClr val="333399"/>
              </a:solidFill>
              <a:ea typeface="华文中宋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028" y="205426"/>
            <a:ext cx="6832600" cy="500063"/>
          </a:xfrm>
        </p:spPr>
        <p:txBody>
          <a:bodyPr/>
          <a:lstStyle>
            <a:lvl1pPr>
              <a:defRPr sz="1800" baseline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华文细黑" panose="02010600040101010101" pitchFamily="2" charset="-122"/>
                <a:cs typeface="Calibri" panose="020F050202020403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6" name="内容占位符 25"/>
          <p:cNvSpPr>
            <a:spLocks noGrp="1"/>
          </p:cNvSpPr>
          <p:nvPr>
            <p:ph sz="quarter" idx="11"/>
          </p:nvPr>
        </p:nvSpPr>
        <p:spPr>
          <a:xfrm>
            <a:off x="73029" y="793864"/>
            <a:ext cx="8870236" cy="685800"/>
          </a:xfrm>
        </p:spPr>
        <p:txBody>
          <a:bodyPr/>
          <a:lstStyle>
            <a:lvl1pPr marL="189548" indent="-189548">
              <a:lnSpc>
                <a:spcPct val="130000"/>
              </a:lnSpc>
              <a:defRPr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Calibri" panose="020F0502020204030204" pitchFamily="34" charset="0"/>
              </a:defRPr>
            </a:lvl1pPr>
            <a:lvl2pPr marL="511969" indent="-184785">
              <a:lnSpc>
                <a:spcPct val="130000"/>
              </a:lnSpc>
              <a:defRPr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Calibri" panose="020F0502020204030204" pitchFamily="34" charset="0"/>
              </a:defRPr>
            </a:lvl2pPr>
            <a:lvl3pPr marL="767239" indent="-113348">
              <a:lnSpc>
                <a:spcPct val="130000"/>
              </a:lnSpc>
              <a:defRPr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Calibri" panose="020F0502020204030204" pitchFamily="34" charset="0"/>
              </a:defRPr>
            </a:lvl3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sp>
        <p:nvSpPr>
          <p:cNvPr id="29" name="灯片编号占位符 5"/>
          <p:cNvSpPr>
            <a:spLocks noGrp="1" noChangeAspect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37DF7BA-07B1-4107-96B8-6FAE648D843F}" type="slidenum">
              <a:rPr lang="zh-CN" altLang="en-US">
                <a:solidFill>
                  <a:prstClr val="black"/>
                </a:solidFill>
              </a:rPr>
              <a:t>‹#›</a:t>
            </a:fld>
            <a:endParaRPr lang="en-US" altLang="zh-C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280103"/>
      </p:ext>
    </p:extLst>
  </p:cSld>
  <p:clrMapOvr>
    <a:masterClrMapping/>
  </p:clrMapOvr>
  <p:transition/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1241832"/>
      </p:ext>
    </p:extLst>
  </p:cSld>
  <p:clrMapOvr>
    <a:masterClrMapping/>
  </p:clrMapOvr>
  <p:transition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753475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627315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2 Blue - one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7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FFFFFF"/>
                </a:solidFill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42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909148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3F2225F-C328-453B-9DFC-0C4FB0D63C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2BFAA9-BE39-4B8E-88F3-D2FB0B5A719E}"/>
              </a:ext>
            </a:extLst>
          </p:cNvPr>
          <p:cNvSpPr txBox="1"/>
          <p:nvPr userDrawn="1"/>
        </p:nvSpPr>
        <p:spPr bwMode="auto">
          <a:xfrm>
            <a:off x="1" y="0"/>
            <a:ext cx="9143999" cy="5143500"/>
          </a:xfrm>
          <a:prstGeom prst="rect">
            <a:avLst/>
          </a:prstGeom>
          <a:solidFill>
            <a:srgbClr val="000000">
              <a:alpha val="41000"/>
            </a:srgbClr>
          </a:solidFill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457200" rtl="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600" kern="1200">
                <a:solidFill>
                  <a:schemeClr val="tx2"/>
                </a:solidFill>
                <a:latin typeface="Nokia Pure Headline Ultra Light" panose="020B0204040602060303" pitchFamily="34" charset="0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459105" indent="-228600" algn="l" defTabSz="457200" rtl="0" eaLnBrk="0" fontAlgn="base" hangingPunct="0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800" kern="1200">
                <a:solidFill>
                  <a:schemeClr val="tx2"/>
                </a:solidFill>
                <a:latin typeface="+mn-lt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684530" indent="-225425" algn="l" defTabSz="457200" rtl="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913130" indent="-228600" algn="l" defTabSz="457200" rtl="0" eaLnBrk="0" fontAlgn="base" hangingPunct="0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n-lt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1143000" indent="-230505" algn="l" defTabSz="457200" rtl="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zh-CN" altLang="en-US" sz="48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73F8BDE-D8E1-4EF9-945A-EFED7C7EC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4D0FD34-5D6B-439E-ADE9-4BF0EFCD87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1C21DD-A396-4676-9C06-C33EAC2C840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92278" y="4733050"/>
            <a:ext cx="1351722" cy="356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013814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25">
                <a:solidFill>
                  <a:schemeClr val="bg2"/>
                </a:solidFill>
                <a:latin typeface="+mj-lt"/>
              </a:defRPr>
            </a:lvl1pPr>
            <a:lvl2pPr>
              <a:defRPr sz="2025">
                <a:latin typeface="+mj-lt"/>
              </a:defRPr>
            </a:lvl2pPr>
            <a:lvl3pPr>
              <a:defRPr sz="2025">
                <a:latin typeface="+mj-lt"/>
              </a:defRPr>
            </a:lvl3pPr>
            <a:lvl4pPr>
              <a:defRPr sz="2025">
                <a:latin typeface="+mj-lt"/>
              </a:defRPr>
            </a:lvl4pPr>
            <a:lvl5pPr>
              <a:defRPr sz="2025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25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447666210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8B7473-69EE-4919-99E6-B81E73C9B475}" type="datetimeFigureOut">
              <a:rPr lang="zh-CN" altLang="en-US" smtClean="0"/>
              <a:t>2019/9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1D124-1E75-459B-9772-36DBCFBACA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510725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8B7473-69EE-4919-99E6-B81E73C9B475}" type="datetimeFigureOut">
              <a:rPr lang="zh-CN" altLang="en-US" smtClean="0"/>
              <a:t>2019/9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1D124-1E75-459B-9772-36DBCFBACAD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418600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942" y="3305448"/>
            <a:ext cx="7771749" cy="1020926"/>
          </a:xfrm>
        </p:spPr>
        <p:txBody>
          <a:bodyPr anchor="t"/>
          <a:lstStyle>
            <a:lvl1pPr algn="l">
              <a:defRPr sz="3197" b="1" cap="all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942" y="2180507"/>
            <a:ext cx="7771749" cy="1124910"/>
          </a:xfrm>
        </p:spPr>
        <p:txBody>
          <a:bodyPr anchor="b"/>
          <a:lstStyle>
            <a:lvl1pPr marL="0" indent="0">
              <a:buNone/>
              <a:defRPr sz="1499"/>
            </a:lvl1pPr>
            <a:lvl2pPr marL="352100" indent="0">
              <a:buNone/>
              <a:defRPr sz="1299"/>
            </a:lvl2pPr>
            <a:lvl3pPr marL="704183" indent="0">
              <a:buNone/>
              <a:defRPr sz="1199"/>
            </a:lvl3pPr>
            <a:lvl4pPr marL="1056275" indent="0">
              <a:buNone/>
              <a:defRPr sz="1099"/>
            </a:lvl4pPr>
            <a:lvl5pPr marL="1408362" indent="0">
              <a:buNone/>
              <a:defRPr sz="1099"/>
            </a:lvl5pPr>
            <a:lvl6pPr marL="1760454" indent="0">
              <a:buNone/>
              <a:defRPr sz="1099"/>
            </a:lvl6pPr>
            <a:lvl7pPr marL="2112544" indent="0">
              <a:buNone/>
              <a:defRPr sz="1099"/>
            </a:lvl7pPr>
            <a:lvl8pPr marL="2464635" indent="0">
              <a:buNone/>
              <a:defRPr sz="1099"/>
            </a:lvl8pPr>
            <a:lvl9pPr marL="2816726" indent="0">
              <a:buNone/>
              <a:defRPr sz="1099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12F53-F30E-4E85-BB3A-235F9490063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38139594"/>
      </p:ext>
    </p:extLst>
  </p:cSld>
  <p:clrMapOvr>
    <a:masterClrMapping/>
  </p:clrMapOvr>
  <p:transition spd="med"/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69401" y="1091308"/>
            <a:ext cx="8306342" cy="3384185"/>
          </a:xfrm>
        </p:spPr>
        <p:txBody>
          <a:bodyPr/>
          <a:lstStyle>
            <a:lvl1pPr>
              <a:defRPr sz="2198"/>
            </a:lvl1pPr>
            <a:lvl2pPr>
              <a:defRPr sz="1898"/>
            </a:lvl2pPr>
            <a:lvl3pPr>
              <a:defRPr sz="1499"/>
            </a:lvl3pPr>
            <a:lvl4pPr>
              <a:defRPr sz="1299"/>
            </a:lvl4pPr>
            <a:lvl5pPr>
              <a:defRPr sz="1299"/>
            </a:lvl5pPr>
            <a:lvl6pPr>
              <a:defRPr sz="1299"/>
            </a:lvl6pPr>
            <a:lvl7pPr>
              <a:defRPr sz="1299"/>
            </a:lvl7pPr>
            <a:lvl8pPr>
              <a:defRPr sz="1299"/>
            </a:lvl8pPr>
            <a:lvl9pPr>
              <a:defRPr sz="12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6D47D-3536-4B03-AB53-61F74F9452E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38464275"/>
      </p:ext>
    </p:extLst>
  </p:cSld>
  <p:clrMapOvr>
    <a:masterClrMapping/>
  </p:clrMapOvr>
  <p:transition spd="med"/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422" y="205870"/>
            <a:ext cx="8229166" cy="857078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427" y="1151168"/>
            <a:ext cx="4040271" cy="480005"/>
          </a:xfrm>
        </p:spPr>
        <p:txBody>
          <a:bodyPr anchor="b"/>
          <a:lstStyle>
            <a:lvl1pPr marL="0" indent="0">
              <a:buNone/>
              <a:defRPr sz="1898" b="1"/>
            </a:lvl1pPr>
            <a:lvl2pPr marL="352100" indent="0">
              <a:buNone/>
              <a:defRPr sz="1499" b="1"/>
            </a:lvl2pPr>
            <a:lvl3pPr marL="704183" indent="0">
              <a:buNone/>
              <a:defRPr sz="1299" b="1"/>
            </a:lvl3pPr>
            <a:lvl4pPr marL="1056275" indent="0">
              <a:buNone/>
              <a:defRPr sz="1199" b="1"/>
            </a:lvl4pPr>
            <a:lvl5pPr marL="1408362" indent="0">
              <a:buNone/>
              <a:defRPr sz="1199" b="1"/>
            </a:lvl5pPr>
            <a:lvl6pPr marL="1760454" indent="0">
              <a:buNone/>
              <a:defRPr sz="1199" b="1"/>
            </a:lvl6pPr>
            <a:lvl7pPr marL="2112544" indent="0">
              <a:buNone/>
              <a:defRPr sz="1199" b="1"/>
            </a:lvl7pPr>
            <a:lvl8pPr marL="2464635" indent="0">
              <a:buNone/>
              <a:defRPr sz="1199" b="1"/>
            </a:lvl8pPr>
            <a:lvl9pPr marL="2816726" indent="0">
              <a:buNone/>
              <a:defRPr sz="1199" b="1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427" y="1631188"/>
            <a:ext cx="4040271" cy="2963000"/>
          </a:xfrm>
        </p:spPr>
        <p:txBody>
          <a:bodyPr/>
          <a:lstStyle>
            <a:lvl1pPr>
              <a:defRPr sz="1898"/>
            </a:lvl1pPr>
            <a:lvl2pPr>
              <a:defRPr sz="1499"/>
            </a:lvl2pPr>
            <a:lvl3pPr>
              <a:defRPr sz="1299"/>
            </a:lvl3pPr>
            <a:lvl4pPr>
              <a:defRPr sz="1199"/>
            </a:lvl4pPr>
            <a:lvl5pPr>
              <a:defRPr sz="1199"/>
            </a:lvl5pPr>
            <a:lvl6pPr>
              <a:defRPr sz="1199"/>
            </a:lvl6pPr>
            <a:lvl7pPr>
              <a:defRPr sz="1199"/>
            </a:lvl7pPr>
            <a:lvl8pPr>
              <a:defRPr sz="1199"/>
            </a:lvl8pPr>
            <a:lvl9pPr>
              <a:defRPr sz="11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4875" y="1151168"/>
            <a:ext cx="4041714" cy="480005"/>
          </a:xfrm>
        </p:spPr>
        <p:txBody>
          <a:bodyPr anchor="b"/>
          <a:lstStyle>
            <a:lvl1pPr marL="0" indent="0">
              <a:buNone/>
              <a:defRPr sz="1898" b="1"/>
            </a:lvl1pPr>
            <a:lvl2pPr marL="352100" indent="0">
              <a:buNone/>
              <a:defRPr sz="1499" b="1"/>
            </a:lvl2pPr>
            <a:lvl3pPr marL="704183" indent="0">
              <a:buNone/>
              <a:defRPr sz="1299" b="1"/>
            </a:lvl3pPr>
            <a:lvl4pPr marL="1056275" indent="0">
              <a:buNone/>
              <a:defRPr sz="1199" b="1"/>
            </a:lvl4pPr>
            <a:lvl5pPr marL="1408362" indent="0">
              <a:buNone/>
              <a:defRPr sz="1199" b="1"/>
            </a:lvl5pPr>
            <a:lvl6pPr marL="1760454" indent="0">
              <a:buNone/>
              <a:defRPr sz="1199" b="1"/>
            </a:lvl6pPr>
            <a:lvl7pPr marL="2112544" indent="0">
              <a:buNone/>
              <a:defRPr sz="1199" b="1"/>
            </a:lvl7pPr>
            <a:lvl8pPr marL="2464635" indent="0">
              <a:buNone/>
              <a:defRPr sz="1199" b="1"/>
            </a:lvl8pPr>
            <a:lvl9pPr marL="2816726" indent="0">
              <a:buNone/>
              <a:defRPr sz="1199" b="1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4875" y="1631188"/>
            <a:ext cx="4041714" cy="2963000"/>
          </a:xfrm>
        </p:spPr>
        <p:txBody>
          <a:bodyPr/>
          <a:lstStyle>
            <a:lvl1pPr>
              <a:defRPr sz="1898"/>
            </a:lvl1pPr>
            <a:lvl2pPr>
              <a:defRPr sz="1499"/>
            </a:lvl2pPr>
            <a:lvl3pPr>
              <a:defRPr sz="1299"/>
            </a:lvl3pPr>
            <a:lvl4pPr>
              <a:defRPr sz="1199"/>
            </a:lvl4pPr>
            <a:lvl5pPr>
              <a:defRPr sz="1199"/>
            </a:lvl5pPr>
            <a:lvl6pPr>
              <a:defRPr sz="1199"/>
            </a:lvl6pPr>
            <a:lvl7pPr>
              <a:defRPr sz="1199"/>
            </a:lvl7pPr>
            <a:lvl8pPr>
              <a:defRPr sz="1199"/>
            </a:lvl8pPr>
            <a:lvl9pPr>
              <a:defRPr sz="11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EE442C-518C-4B80-B79E-779FAF4B791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075828951"/>
      </p:ext>
    </p:extLst>
  </p:cSld>
  <p:clrMapOvr>
    <a:masterClrMapping/>
  </p:clrMapOvr>
  <p:transition spd="med"/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102192-1BC0-4A5F-838D-69B9AAE3492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4007323"/>
      </p:ext>
    </p:extLst>
  </p:cSld>
  <p:clrMapOvr>
    <a:masterClrMapping/>
  </p:clrMapOvr>
  <p:transition spd="med"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8139707" y="4924009"/>
            <a:ext cx="883088" cy="22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/>
            <a:fld id="{35CDA7CD-4C70-4959-9D59-097289C2B2C0}" type="slidenum">
              <a:rPr lang="zh-CN" altLang="en-US" sz="1099" b="1">
                <a:solidFill>
                  <a:schemeClr val="bg1"/>
                </a:solidFill>
              </a:rPr>
              <a:pPr algn="r"/>
              <a:t>‹#›</a:t>
            </a:fld>
            <a:endParaRPr lang="en-US" altLang="zh-CN" sz="1799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36CBE87-8C50-4E46-B150-3FC4633502D1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90493320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5006761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12478-937F-4BC8-94A9-411847319B6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538326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491547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6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5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98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dirty="0">
                <a:solidFill>
                  <a:schemeClr val="bg2"/>
                </a:solidFill>
                <a:cs typeface="Arial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933989274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4" y="1089033"/>
            <a:ext cx="8229600" cy="3306763"/>
          </a:xfrm>
          <a:prstGeom prst="rect">
            <a:avLst/>
          </a:prstGeom>
        </p:spPr>
        <p:txBody>
          <a:bodyPr/>
          <a:lstStyle>
            <a:lvl1pPr>
              <a:spcAft>
                <a:spcPts val="599"/>
              </a:spcAft>
              <a:defRPr baseline="0"/>
            </a:lvl1pPr>
            <a:lvl2pPr>
              <a:spcAft>
                <a:spcPts val="599"/>
              </a:spcAft>
              <a:defRPr/>
            </a:lvl2pPr>
            <a:lvl3pPr>
              <a:spcAft>
                <a:spcPts val="599"/>
              </a:spcAft>
              <a:defRPr/>
            </a:lvl3pPr>
            <a:lvl4pPr>
              <a:spcAft>
                <a:spcPts val="599"/>
              </a:spcAft>
              <a:defRPr/>
            </a:lvl4pPr>
            <a:lvl5pPr>
              <a:spcAft>
                <a:spcPts val="599"/>
              </a:spcAft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1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4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799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3204762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86014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4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6387811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726682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6880328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9225527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9" y="4810726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30977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659581241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E2E9E8-11D2-4CAD-AED4-D2349751B6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E2E9E8-11D2-4CAD-AED4-D2349751B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Secre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sz="800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sz="600" dirty="0"/>
              <a:t>Eigh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5475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61516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2559557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061212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ヒラギノ角ゴ Pro W3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237104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headlin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6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noProof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45512464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7874047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362724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0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1048601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04860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19/9/8</a:t>
            </a:fld>
            <a:endParaRPr lang="zh-CN" altLang="en-US"/>
          </a:p>
        </p:txBody>
      </p:sp>
      <p:sp>
        <p:nvSpPr>
          <p:cNvPr id="104860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860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7447818"/>
      </p:ext>
    </p:extLst>
  </p:cSld>
  <p:clrMapOvr>
    <a:masterClrMapping/>
  </p:clrMapOvr>
  <p:transition spd="slow" advClick="0" advTm="3000">
    <p:random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3431389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33941173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5914578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3135176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38392816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3739113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481069002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53587926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45612321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807027027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2"/>
            <a:ext cx="8227648" cy="301625"/>
          </a:xfrm>
          <a:prstGeom prst="rect">
            <a:avLst/>
          </a:prstGeom>
        </p:spPr>
        <p:txBody>
          <a:bodyPr lIns="71579" tIns="35790" rIns="71579" bIns="35790"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6548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5683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endParaRPr lang="en-US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647735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85642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/>
              <a:t>Click icon to add table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671139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SmartArt Placeholder 2"/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SmartArt graphic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470934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71570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 noProof="0"/>
              <a:t>Click icon to add table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80597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105156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4" name="Table Placeholder 2"/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5" name="Table Placeholder 2"/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89014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67172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28018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483216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9603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页脚占位符 8"/>
          <p:cNvSpPr>
            <a:spLocks noGrp="1"/>
          </p:cNvSpPr>
          <p:nvPr>
            <p:ph type="ftr" sz="quarter" idx="11"/>
          </p:nvPr>
        </p:nvSpPr>
        <p:spPr>
          <a:xfrm>
            <a:off x="421510" y="4926090"/>
            <a:ext cx="1656673" cy="157159"/>
          </a:xfrm>
        </p:spPr>
        <p:txBody>
          <a:bodyPr/>
          <a:lstStyle>
            <a:lvl1pPr>
              <a:defRPr sz="799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6342"/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8582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293264072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51738056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ontents Pag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pic>
        <p:nvPicPr>
          <p:cNvPr id="6" name="Picture 5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056295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8717A"/>
                </a:solidFill>
                <a:effectLst/>
                <a:uLnTx/>
                <a:uFillTx/>
                <a:latin typeface="Arial"/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107798335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8705920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1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17972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941995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1560">
                <a:solidFill>
                  <a:schemeClr val="tx2"/>
                </a:solidFill>
              </a:defRPr>
            </a:lvl1pPr>
            <a:lvl2pPr marL="449280" algn="l">
              <a:defRPr sz="1365">
                <a:solidFill>
                  <a:schemeClr val="tx2"/>
                </a:solidFill>
              </a:defRPr>
            </a:lvl2pPr>
            <a:lvl3pPr marL="673920" indent="-224640" algn="l">
              <a:defRPr sz="1170">
                <a:solidFill>
                  <a:schemeClr val="tx2"/>
                </a:solidFill>
              </a:defRPr>
            </a:lvl3pPr>
            <a:lvl4pPr marL="898560" algn="l">
              <a:defRPr sz="975">
                <a:solidFill>
                  <a:schemeClr val="tx2"/>
                </a:solidFill>
              </a:defRPr>
            </a:lvl4pPr>
            <a:lvl5pPr marL="1123200" algn="l">
              <a:defRPr sz="78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3275856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78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solidFill>
                  <a:srgbClr val="001135"/>
                </a:solidFill>
                <a:cs typeface="Arial" panose="020B0604020202020204" pitchFamily="34" charset="0"/>
              </a:rPr>
              <a:t>&lt;Confidential&gt;</a:t>
            </a:r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195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45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5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45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85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74136956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018738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5625675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983354493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97649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71930665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676408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475871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35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16978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 lIns="91395" tIns="45697" rIns="91395" bIns="45697"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68717A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11453152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3CFCBB-6807-4D09-ACDB-B1B1258121A3}" type="datetimeFigureOut">
              <a:rPr lang="zh-CN" altLang="en-US" smtClean="0"/>
              <a:pPr/>
              <a:t>2019/9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2F5D27-EF98-47DF-AAFD-EC833EABD57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671779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9582522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5468252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14499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37421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120004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35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44210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27151657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7" name="AutoShape 3"/>
          <p:cNvSpPr>
            <a:spLocks noChangeAspect="1" noChangeArrowheads="1" noTextEdit="1"/>
          </p:cNvSpPr>
          <p:nvPr userDrawn="1"/>
        </p:nvSpPr>
        <p:spPr bwMode="auto">
          <a:xfrm>
            <a:off x="251558" y="4720829"/>
            <a:ext cx="9144000" cy="29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79088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377070856"/>
      </p:ext>
    </p:extLst>
  </p:cSld>
  <p:clrMapOvr>
    <a:masterClrMapping/>
  </p:clrMapOvr>
  <p:transition spd="slow" advClick="0">
    <p:wipe dir="r"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 lIns="91395" tIns="45697" rIns="91395" bIns="45697"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68717A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110336416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3CFCBB-6807-4D09-ACDB-B1B1258121A3}" type="datetimeFigureOut">
              <a:rPr lang="zh-CN" altLang="en-US" smtClean="0"/>
              <a:pPr/>
              <a:t>2019/9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2F5D27-EF98-47DF-AAFD-EC833EABD57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028324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122398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29547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/>
              <a:t>Click icon to add table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3172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61018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SmartArt Placeholder 2"/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SmartArt graphic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276403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492109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 noProof="0"/>
              <a:t>Click icon to add table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785669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22399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4" name="Table Placeholder 2"/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5" name="Table Placeholder 2"/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12405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32848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0760091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8717A"/>
                </a:solidFill>
                <a:effectLst/>
                <a:uLnTx/>
                <a:uFillTx/>
                <a:latin typeface="Arial"/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184542835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 baseline="0">
                <a:solidFill>
                  <a:schemeClr val="tx1"/>
                </a:solidFill>
                <a:latin typeface="+mj-ea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40667396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88001"/>
            <a:ext cx="8229600" cy="311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6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26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81917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24051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657638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8935425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300896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950841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229600" cy="311789"/>
          </a:xfrm>
          <a:prstGeom prst="rect">
            <a:avLst/>
          </a:prstGeom>
        </p:spPr>
        <p:txBody>
          <a:bodyPr vert="horz" lIns="0" rIns="72000" anchor="ctr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18120" y="537790"/>
            <a:ext cx="8227649" cy="301625"/>
          </a:xfrm>
        </p:spPr>
        <p:txBody>
          <a:bodyPr vert="horz" rIns="72000" anchor="ctr" anchorCtr="0"/>
          <a:lstStyle>
            <a:lvl1pPr marL="0" indent="0">
              <a:buFont typeface="Arial"/>
              <a:buNone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6496081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baseline="0" noProof="0" dirty="0">
                <a:ea typeface="微软雅黑" panose="020B0503020204020204" pitchFamily="34" charset="-122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noProof="0" dirty="0"/>
              <a:t>Click to edit headline</a:t>
            </a:r>
          </a:p>
        </p:txBody>
      </p:sp>
      <p:sp>
        <p:nvSpPr>
          <p:cNvPr id="6" name="Footer Placeholder 27">
            <a:extLst>
              <a:ext uri="{FF2B5EF4-FFF2-40B4-BE49-F238E27FC236}">
                <a16:creationId xmlns:a16="http://schemas.microsoft.com/office/drawing/2014/main" id="{9582C653-70A1-4EFE-8EF0-3C0CE91C3A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2341951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baseline="0" noProof="0" dirty="0">
                <a:ea typeface="微软雅黑" panose="020B0503020204020204" pitchFamily="34" charset="-122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noProof="0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7" name="Footer Placeholder 27">
            <a:extLst>
              <a:ext uri="{FF2B5EF4-FFF2-40B4-BE49-F238E27FC236}">
                <a16:creationId xmlns:a16="http://schemas.microsoft.com/office/drawing/2014/main" id="{F1E89D08-DDD3-4AB9-95DA-16431BE36B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1451787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baseline="0" noProof="0" dirty="0">
                <a:ea typeface="微软雅黑" panose="020B0503020204020204" pitchFamily="34" charset="-122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046141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0613465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6324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SmartArt Placeholder 2"/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SmartArt graphic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258542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6714643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897812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924594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35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6891908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4752002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0825" y="123479"/>
            <a:ext cx="8642350" cy="57661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23579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Internal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277361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Internal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603976793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659520337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7" name="AutoShape 3"/>
          <p:cNvSpPr>
            <a:spLocks noChangeAspect="1" noChangeArrowheads="1" noTextEdit="1"/>
          </p:cNvSpPr>
          <p:nvPr userDrawn="1"/>
        </p:nvSpPr>
        <p:spPr bwMode="auto">
          <a:xfrm>
            <a:off x="251558" y="4720829"/>
            <a:ext cx="9144000" cy="29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9009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628738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1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6726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58971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1560">
                <a:solidFill>
                  <a:schemeClr val="tx2"/>
                </a:solidFill>
              </a:defRPr>
            </a:lvl1pPr>
            <a:lvl2pPr marL="449280" algn="l">
              <a:defRPr sz="1365">
                <a:solidFill>
                  <a:schemeClr val="tx2"/>
                </a:solidFill>
              </a:defRPr>
            </a:lvl2pPr>
            <a:lvl3pPr marL="673920" indent="-224640" algn="l">
              <a:defRPr sz="1170">
                <a:solidFill>
                  <a:schemeClr val="tx2"/>
                </a:solidFill>
              </a:defRPr>
            </a:lvl3pPr>
            <a:lvl4pPr marL="898560" algn="l">
              <a:defRPr sz="975">
                <a:solidFill>
                  <a:schemeClr val="tx2"/>
                </a:solidFill>
              </a:defRPr>
            </a:lvl4pPr>
            <a:lvl5pPr marL="1123200" algn="l">
              <a:defRPr sz="78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3275856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78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solidFill>
                  <a:srgbClr val="001135"/>
                </a:solidFill>
                <a:cs typeface="Arial" panose="020B0604020202020204" pitchFamily="34" charset="0"/>
              </a:rPr>
              <a:t>&lt;Confidential&gt;</a:t>
            </a:r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195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45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95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45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85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4694291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1546245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lang="en-GB" sz="2000" b="1" kern="1200" dirty="0">
                <a:solidFill>
                  <a:srgbClr val="3085BC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0400"/>
            <a:ext cx="8229600" cy="3680626"/>
          </a:xfrm>
        </p:spPr>
        <p:txBody>
          <a:bodyPr/>
          <a:lstStyle>
            <a:lvl1pPr>
              <a:defRPr>
                <a:solidFill>
                  <a:srgbClr val="3085BC"/>
                </a:solidFill>
              </a:defRPr>
            </a:lvl1pPr>
            <a:lvl2pPr marL="613584" indent="-306792">
              <a:spcBef>
                <a:spcPts val="0"/>
              </a:spcBef>
              <a:defRPr>
                <a:solidFill>
                  <a:srgbClr val="3085BC"/>
                </a:solidFill>
              </a:defRPr>
            </a:lvl2pPr>
            <a:lvl3pPr>
              <a:defRPr>
                <a:solidFill>
                  <a:srgbClr val="3085BC"/>
                </a:solidFill>
              </a:defRPr>
            </a:lvl3pPr>
            <a:lvl4pPr>
              <a:defRPr>
                <a:solidFill>
                  <a:srgbClr val="3085BC"/>
                </a:solidFill>
              </a:defRPr>
            </a:lvl4pPr>
            <a:lvl5pPr>
              <a:defRPr>
                <a:solidFill>
                  <a:srgbClr val="3085B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718374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546679263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176643127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870638371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sp>
        <p:nvSpPr>
          <p:cNvPr id="6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551615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8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2205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890889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 dirty="0"/>
              <a:t>Click icon to add table</a:t>
            </a:r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8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46925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SmartArt Placeholder 2"/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lick icon to add SmartArt graphic</a:t>
            </a:r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8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918701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10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11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791166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 noProof="0" dirty="0"/>
              <a:t>Click icon to add table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10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613466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12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723028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lick icon to add table</a:t>
            </a:r>
            <a:endParaRPr lang="en-US" dirty="0"/>
          </a:p>
        </p:txBody>
      </p:sp>
      <p:sp>
        <p:nvSpPr>
          <p:cNvPr id="14" name="Table Placeholder 2"/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lick icon to add table</a:t>
            </a:r>
            <a:endParaRPr lang="en-US" dirty="0"/>
          </a:p>
        </p:txBody>
      </p:sp>
      <p:sp>
        <p:nvSpPr>
          <p:cNvPr id="15" name="Table Placeholder 2"/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lick icon to add tabl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10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0006945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  <p:pic>
        <p:nvPicPr>
          <p:cNvPr id="14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15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955412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86"/>
            <a:ext cx="9144000" cy="5138927"/>
          </a:xfrm>
          <a:prstGeom prst="rect">
            <a:avLst/>
          </a:prstGeom>
        </p:spPr>
      </p:pic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5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1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80000" cy="5144608"/>
          </a:xfrm>
          <a:prstGeom prst="rect">
            <a:avLst/>
          </a:prstGeom>
        </p:spPr>
      </p:pic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5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3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6" descr="AdobeStock_94806003.jpe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5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31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78710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3999" cy="5613401"/>
          </a:xfrm>
          <a:prstGeom prst="rect">
            <a:avLst/>
          </a:prstGeom>
        </p:spPr>
      </p:pic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5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8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50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65049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213831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/>
              <a:t>Click icon to add table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80974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SmartArt Placeholder 2"/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SmartArt graphic</a:t>
            </a:r>
            <a:endParaRPr lang="en-US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469126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291665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altLang="zh-CN" noProof="0"/>
              <a:t>Click icon to add table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045015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604364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4" name="Table Placeholder 2"/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15" name="Table Placeholder 2"/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altLang="zh-CN"/>
              <a:t>Click icon to add tabl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34831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 noProof="0"/>
              <a:t>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1396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4" name="Table Placeholder 2"/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5" name="Table Placeholder 2"/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734795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97892425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 txBox="1">
            <a:spLocks/>
          </p:cNvSpPr>
          <p:nvPr/>
        </p:nvSpPr>
        <p:spPr>
          <a:xfrm>
            <a:off x="4410075" y="4765675"/>
            <a:ext cx="371475" cy="179388"/>
          </a:xfrm>
          <a:prstGeom prst="rect">
            <a:avLst/>
          </a:prstGeom>
        </p:spPr>
        <p:txBody>
          <a:bodyPr lIns="69613" tIns="34807" rIns="69613" bIns="34807" anchor="b"/>
          <a:lstStyle>
            <a:lvl1pPr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kia Pure Text" panose="020B0504040602060303" pitchFamily="34" charset="0"/>
              </a:defRPr>
            </a:lvl9pPr>
          </a:lstStyle>
          <a:p>
            <a:pPr algn="ctr">
              <a:defRPr/>
            </a:pPr>
            <a:fld id="{50B7B654-5E19-44E4-80F6-D77200C2B1B4}" type="slidenum">
              <a:rPr lang="en-US" altLang="zh-CN" sz="500" smtClean="0">
                <a:solidFill>
                  <a:srgbClr val="6597EC"/>
                </a:solidFill>
                <a:latin typeface="Trebuchet MS" panose="020B0603020202020204" pitchFamily="34" charset="0"/>
                <a:ea typeface="宋体" panose="02010600030101010101" pitchFamily="2" charset="-122"/>
              </a:rPr>
              <a:pPr algn="ctr">
                <a:defRPr/>
              </a:pPr>
              <a:t>‹#›</a:t>
            </a:fld>
            <a:endParaRPr lang="en-US" altLang="zh-CN" sz="500">
              <a:solidFill>
                <a:srgbClr val="6597EC"/>
              </a:solidFill>
              <a:latin typeface="Trebuchet MS" panose="020B0603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6582" y="977506"/>
            <a:ext cx="8690952" cy="290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rmAutofit/>
          </a:bodyPr>
          <a:lstStyle>
            <a:lvl1pPr marL="391574" indent="-391574" algn="l" defTabSz="696133" rtl="0" eaLnBrk="1" fontAlgn="base" latinLnBrk="0" hangingPunct="1">
              <a:spcAft>
                <a:spcPts val="457"/>
              </a:spcAft>
              <a:buClr>
                <a:srgbClr val="404040"/>
              </a:buClr>
              <a:buFont typeface="+mj-lt"/>
              <a:buAutoNum type="arabicPeriod"/>
              <a:defRPr lang="en-US" sz="2098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77383" indent="-129318" algn="l" defTabSz="696133" rtl="0" eaLnBrk="1" fontAlgn="base" latinLnBrk="0" hangingPunct="1">
              <a:spcAft>
                <a:spcPts val="457"/>
              </a:spcAft>
              <a:buFont typeface="+mj-lt"/>
              <a:buNone/>
              <a:defRPr lang="en-US" sz="1499" kern="1200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ea typeface="+mn-ea"/>
                <a:cs typeface="+mn-cs"/>
              </a:defRPr>
            </a:lvl2pPr>
            <a:lvl3pPr marL="348066" algn="l" defTabSz="696133" rtl="0" eaLnBrk="1" fontAlgn="base" latinLnBrk="0" hangingPunct="1">
              <a:spcAft>
                <a:spcPts val="457"/>
              </a:spcAft>
              <a:defRPr lang="en-US" sz="2098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48066" algn="l" defTabSz="696133" rtl="0" eaLnBrk="1" fontAlgn="base" latinLnBrk="0" hangingPunct="1">
              <a:spcAft>
                <a:spcPts val="457"/>
              </a:spcAft>
              <a:defRPr lang="en-US" sz="2098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48066" algn="l" defTabSz="696133" rtl="0" eaLnBrk="1" fontAlgn="base" latinLnBrk="0" hangingPunct="1">
              <a:spcAft>
                <a:spcPts val="457"/>
              </a:spcAft>
              <a:defRPr lang="en-US" sz="2098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152551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6478735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942" y="3305447"/>
            <a:ext cx="7771749" cy="1020927"/>
          </a:xfrm>
        </p:spPr>
        <p:txBody>
          <a:bodyPr anchor="t"/>
          <a:lstStyle>
            <a:lvl1pPr algn="l">
              <a:defRPr sz="3197" b="1" cap="all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942" y="2180507"/>
            <a:ext cx="7771749" cy="1124910"/>
          </a:xfrm>
        </p:spPr>
        <p:txBody>
          <a:bodyPr anchor="b"/>
          <a:lstStyle>
            <a:lvl1pPr marL="0" indent="0">
              <a:buNone/>
              <a:defRPr sz="1499"/>
            </a:lvl1pPr>
            <a:lvl2pPr marL="352109" indent="0">
              <a:buNone/>
              <a:defRPr sz="1299"/>
            </a:lvl2pPr>
            <a:lvl3pPr marL="704201" indent="0">
              <a:buNone/>
              <a:defRPr sz="1199"/>
            </a:lvl3pPr>
            <a:lvl4pPr marL="1056301" indent="0">
              <a:buNone/>
              <a:defRPr sz="1099"/>
            </a:lvl4pPr>
            <a:lvl5pPr marL="1408397" indent="0">
              <a:buNone/>
              <a:defRPr sz="1099"/>
            </a:lvl5pPr>
            <a:lvl6pPr marL="1760498" indent="0">
              <a:buNone/>
              <a:defRPr sz="1099"/>
            </a:lvl6pPr>
            <a:lvl7pPr marL="2112597" indent="0">
              <a:buNone/>
              <a:defRPr sz="1099"/>
            </a:lvl7pPr>
            <a:lvl8pPr marL="2464697" indent="0">
              <a:buNone/>
              <a:defRPr sz="1099"/>
            </a:lvl8pPr>
            <a:lvl9pPr marL="2816797" indent="0">
              <a:buNone/>
              <a:defRPr sz="1099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12F53-F30E-4E85-BB3A-235F9490063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83760611"/>
      </p:ext>
    </p:extLst>
  </p:cSld>
  <p:clrMapOvr>
    <a:masterClrMapping/>
  </p:clrMapOvr>
  <p:transition spd="med"/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69401" y="1091309"/>
            <a:ext cx="8306342" cy="3384184"/>
          </a:xfrm>
        </p:spPr>
        <p:txBody>
          <a:bodyPr/>
          <a:lstStyle>
            <a:lvl1pPr>
              <a:defRPr sz="2198"/>
            </a:lvl1pPr>
            <a:lvl2pPr>
              <a:defRPr sz="1898"/>
            </a:lvl2pPr>
            <a:lvl3pPr>
              <a:defRPr sz="1499"/>
            </a:lvl3pPr>
            <a:lvl4pPr>
              <a:defRPr sz="1299"/>
            </a:lvl4pPr>
            <a:lvl5pPr>
              <a:defRPr sz="1299"/>
            </a:lvl5pPr>
            <a:lvl6pPr>
              <a:defRPr sz="1299"/>
            </a:lvl6pPr>
            <a:lvl7pPr>
              <a:defRPr sz="1299"/>
            </a:lvl7pPr>
            <a:lvl8pPr>
              <a:defRPr sz="1299"/>
            </a:lvl8pPr>
            <a:lvl9pPr>
              <a:defRPr sz="12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6D47D-3536-4B03-AB53-61F74F9452E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78245367"/>
      </p:ext>
    </p:extLst>
  </p:cSld>
  <p:clrMapOvr>
    <a:masterClrMapping/>
  </p:clrMapOvr>
  <p:transition spd="med"/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421" y="205870"/>
            <a:ext cx="8229166" cy="857077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426" y="1151168"/>
            <a:ext cx="4040271" cy="480005"/>
          </a:xfrm>
        </p:spPr>
        <p:txBody>
          <a:bodyPr anchor="b"/>
          <a:lstStyle>
            <a:lvl1pPr marL="0" indent="0">
              <a:buNone/>
              <a:defRPr sz="1898" b="1"/>
            </a:lvl1pPr>
            <a:lvl2pPr marL="352109" indent="0">
              <a:buNone/>
              <a:defRPr sz="1499" b="1"/>
            </a:lvl2pPr>
            <a:lvl3pPr marL="704201" indent="0">
              <a:buNone/>
              <a:defRPr sz="1299" b="1"/>
            </a:lvl3pPr>
            <a:lvl4pPr marL="1056301" indent="0">
              <a:buNone/>
              <a:defRPr sz="1199" b="1"/>
            </a:lvl4pPr>
            <a:lvl5pPr marL="1408397" indent="0">
              <a:buNone/>
              <a:defRPr sz="1199" b="1"/>
            </a:lvl5pPr>
            <a:lvl6pPr marL="1760498" indent="0">
              <a:buNone/>
              <a:defRPr sz="1199" b="1"/>
            </a:lvl6pPr>
            <a:lvl7pPr marL="2112597" indent="0">
              <a:buNone/>
              <a:defRPr sz="1199" b="1"/>
            </a:lvl7pPr>
            <a:lvl8pPr marL="2464697" indent="0">
              <a:buNone/>
              <a:defRPr sz="1199" b="1"/>
            </a:lvl8pPr>
            <a:lvl9pPr marL="2816797" indent="0">
              <a:buNone/>
              <a:defRPr sz="1199" b="1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426" y="1631188"/>
            <a:ext cx="4040271" cy="2962999"/>
          </a:xfrm>
        </p:spPr>
        <p:txBody>
          <a:bodyPr/>
          <a:lstStyle>
            <a:lvl1pPr>
              <a:defRPr sz="1898"/>
            </a:lvl1pPr>
            <a:lvl2pPr>
              <a:defRPr sz="1499"/>
            </a:lvl2pPr>
            <a:lvl3pPr>
              <a:defRPr sz="1299"/>
            </a:lvl3pPr>
            <a:lvl4pPr>
              <a:defRPr sz="1199"/>
            </a:lvl4pPr>
            <a:lvl5pPr>
              <a:defRPr sz="1199"/>
            </a:lvl5pPr>
            <a:lvl6pPr>
              <a:defRPr sz="1199"/>
            </a:lvl6pPr>
            <a:lvl7pPr>
              <a:defRPr sz="1199"/>
            </a:lvl7pPr>
            <a:lvl8pPr>
              <a:defRPr sz="1199"/>
            </a:lvl8pPr>
            <a:lvl9pPr>
              <a:defRPr sz="11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4875" y="1151168"/>
            <a:ext cx="4041714" cy="480005"/>
          </a:xfrm>
        </p:spPr>
        <p:txBody>
          <a:bodyPr anchor="b"/>
          <a:lstStyle>
            <a:lvl1pPr marL="0" indent="0">
              <a:buNone/>
              <a:defRPr sz="1898" b="1"/>
            </a:lvl1pPr>
            <a:lvl2pPr marL="352109" indent="0">
              <a:buNone/>
              <a:defRPr sz="1499" b="1"/>
            </a:lvl2pPr>
            <a:lvl3pPr marL="704201" indent="0">
              <a:buNone/>
              <a:defRPr sz="1299" b="1"/>
            </a:lvl3pPr>
            <a:lvl4pPr marL="1056301" indent="0">
              <a:buNone/>
              <a:defRPr sz="1199" b="1"/>
            </a:lvl4pPr>
            <a:lvl5pPr marL="1408397" indent="0">
              <a:buNone/>
              <a:defRPr sz="1199" b="1"/>
            </a:lvl5pPr>
            <a:lvl6pPr marL="1760498" indent="0">
              <a:buNone/>
              <a:defRPr sz="1199" b="1"/>
            </a:lvl6pPr>
            <a:lvl7pPr marL="2112597" indent="0">
              <a:buNone/>
              <a:defRPr sz="1199" b="1"/>
            </a:lvl7pPr>
            <a:lvl8pPr marL="2464697" indent="0">
              <a:buNone/>
              <a:defRPr sz="1199" b="1"/>
            </a:lvl8pPr>
            <a:lvl9pPr marL="2816797" indent="0">
              <a:buNone/>
              <a:defRPr sz="1199" b="1"/>
            </a:lvl9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4875" y="1631188"/>
            <a:ext cx="4041714" cy="2962999"/>
          </a:xfrm>
        </p:spPr>
        <p:txBody>
          <a:bodyPr/>
          <a:lstStyle>
            <a:lvl1pPr>
              <a:defRPr sz="1898"/>
            </a:lvl1pPr>
            <a:lvl2pPr>
              <a:defRPr sz="1499"/>
            </a:lvl2pPr>
            <a:lvl3pPr>
              <a:defRPr sz="1299"/>
            </a:lvl3pPr>
            <a:lvl4pPr>
              <a:defRPr sz="1199"/>
            </a:lvl4pPr>
            <a:lvl5pPr>
              <a:defRPr sz="1199"/>
            </a:lvl5pPr>
            <a:lvl6pPr>
              <a:defRPr sz="1199"/>
            </a:lvl6pPr>
            <a:lvl7pPr>
              <a:defRPr sz="1199"/>
            </a:lvl7pPr>
            <a:lvl8pPr>
              <a:defRPr sz="1199"/>
            </a:lvl8pPr>
            <a:lvl9pPr>
              <a:defRPr sz="1199"/>
            </a:lvl9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EE442C-518C-4B80-B79E-779FAF4B791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96055439"/>
      </p:ext>
    </p:extLst>
  </p:cSld>
  <p:clrMapOvr>
    <a:masterClrMapping/>
  </p:clrMapOvr>
  <p:transition spd="med"/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102192-1BC0-4A5F-838D-69B9AAE3492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6937939"/>
      </p:ext>
    </p:extLst>
  </p:cSld>
  <p:clrMapOvr>
    <a:masterClrMapping/>
  </p:clrMapOvr>
  <p:transition spd="med"/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8139707" y="4924009"/>
            <a:ext cx="883088" cy="22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/>
            <a:fld id="{35CDA7CD-4C70-4959-9D59-097289C2B2C0}" type="slidenum">
              <a:rPr lang="zh-CN" altLang="en-US" sz="1099" b="1">
                <a:solidFill>
                  <a:schemeClr val="bg1"/>
                </a:solidFill>
              </a:rPr>
              <a:pPr algn="r"/>
              <a:t>‹#›</a:t>
            </a:fld>
            <a:endParaRPr lang="en-US" altLang="zh-CN" sz="1349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36CBE87-8C50-4E46-B150-3FC4633502D1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14239089"/>
      </p:ext>
    </p:extLst>
  </p:cSld>
  <p:clrMapOvr>
    <a:masterClrMapping/>
  </p:clrMapOvr>
  <p:transition spd="med"/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2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798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Edit Master text styles</a:t>
            </a:r>
          </a:p>
        </p:txBody>
      </p:sp>
      <p:sp>
        <p:nvSpPr>
          <p:cNvPr id="5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99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dirty="0">
                <a:solidFill>
                  <a:schemeClr val="bg2"/>
                </a:solidFill>
                <a:cs typeface="Arial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690463605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85660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1725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0429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3554640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7420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33359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0316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4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1pPr>
            <a:lvl2pPr marL="460789" indent="-2303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2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2pPr>
            <a:lvl3pPr marL="691183" indent="-2285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1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3pPr>
            <a:lvl4pPr marL="921577" indent="-2285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9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4pPr>
            <a:lvl5pPr marL="1151972" indent="-228594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800" b="0" i="0">
                <a:solidFill>
                  <a:schemeClr val="tx2"/>
                </a:solidFill>
                <a:latin typeface="Nokia Pure Text Light" charset="0"/>
                <a:ea typeface="Nokia Pure Text Light" charset="0"/>
                <a:cs typeface="Nokia Pure Text Light" charset="0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917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789" algn="l">
              <a:defRPr sz="1400">
                <a:solidFill>
                  <a:schemeClr val="tx2"/>
                </a:solidFill>
              </a:defRPr>
            </a:lvl2pPr>
            <a:lvl3pPr marL="691183" indent="-230394" algn="l">
              <a:defRPr sz="1200">
                <a:solidFill>
                  <a:schemeClr val="tx2"/>
                </a:solidFill>
              </a:defRPr>
            </a:lvl3pPr>
            <a:lvl4pPr marL="921577" algn="l">
              <a:defRPr sz="1000">
                <a:solidFill>
                  <a:schemeClr val="tx2"/>
                </a:solidFill>
              </a:defRPr>
            </a:lvl4pPr>
            <a:lvl5pPr marL="1151972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Interna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707642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89533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79306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23479"/>
            <a:ext cx="8642350" cy="57661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250825" y="842962"/>
            <a:ext cx="4205288" cy="3889375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842963"/>
            <a:ext cx="4284662" cy="388937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2483768" y="4810725"/>
            <a:ext cx="4176464" cy="158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cs typeface="Arial" charset="0"/>
              </a:rPr>
              <a:t>Confidential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410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7085086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73755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-1 Nokia White INTERNAL Master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12670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lang="en-GB" sz="2000" b="1" kern="1200" dirty="0">
                <a:solidFill>
                  <a:srgbClr val="3085BC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0400"/>
            <a:ext cx="8229600" cy="3680626"/>
          </a:xfrm>
        </p:spPr>
        <p:txBody>
          <a:bodyPr/>
          <a:lstStyle>
            <a:lvl1pPr>
              <a:defRPr>
                <a:solidFill>
                  <a:srgbClr val="3085BC"/>
                </a:solidFill>
              </a:defRPr>
            </a:lvl1pPr>
            <a:lvl2pPr marL="613584" indent="-306792">
              <a:spcBef>
                <a:spcPts val="0"/>
              </a:spcBef>
              <a:defRPr>
                <a:solidFill>
                  <a:srgbClr val="3085BC"/>
                </a:solidFill>
              </a:defRPr>
            </a:lvl2pPr>
            <a:lvl3pPr>
              <a:defRPr>
                <a:solidFill>
                  <a:srgbClr val="3085BC"/>
                </a:solidFill>
              </a:defRPr>
            </a:lvl3pPr>
            <a:lvl4pPr>
              <a:defRPr>
                <a:solidFill>
                  <a:srgbClr val="3085BC"/>
                </a:solidFill>
              </a:defRPr>
            </a:lvl4pPr>
            <a:lvl5pPr>
              <a:defRPr>
                <a:solidFill>
                  <a:srgbClr val="3085B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039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grpSp>
        <p:nvGrpSpPr>
          <p:cNvPr id="377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 years</a:t>
              </a: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-100 </a:t>
              </a: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x</a:t>
              </a: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ultra low</a:t>
              </a: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3909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Rechteck 12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3245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2434158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3998448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Footer Placeholder 27">
            <a:extLst>
              <a:ext uri="{FF2B5EF4-FFF2-40B4-BE49-F238E27FC236}">
                <a16:creationId xmlns:a16="http://schemas.microsoft.com/office/drawing/2014/main" id="{E591705A-E7ED-4915-BD0F-16D9E2410A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nternal Us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1020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27">
            <a:extLst>
              <a:ext uri="{FF2B5EF4-FFF2-40B4-BE49-F238E27FC236}">
                <a16:creationId xmlns:a16="http://schemas.microsoft.com/office/drawing/2014/main" id="{FCC74C1D-1550-43C9-A5D6-74DCEAA4BB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nternal Us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9017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27">
            <a:extLst>
              <a:ext uri="{FF2B5EF4-FFF2-40B4-BE49-F238E27FC236}">
                <a16:creationId xmlns:a16="http://schemas.microsoft.com/office/drawing/2014/main" id="{9F4C6940-6770-414E-AAE9-9013B6853AB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nternal Us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87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2464" y="-20538"/>
            <a:ext cx="9176464" cy="5184575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001135"/>
                </a:solidFill>
                <a:ea typeface="ヒラギノ角ゴ Pro W3"/>
                <a:cs typeface="Arial" charset="0"/>
              </a:rPr>
              <a:t>© Nokia 2017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3441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27">
            <a:extLst>
              <a:ext uri="{FF2B5EF4-FFF2-40B4-BE49-F238E27FC236}">
                <a16:creationId xmlns:a16="http://schemas.microsoft.com/office/drawing/2014/main" id="{D2396571-8D51-45B7-9917-B42EB04B10C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nternal Us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00235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27">
            <a:extLst>
              <a:ext uri="{FF2B5EF4-FFF2-40B4-BE49-F238E27FC236}">
                <a16:creationId xmlns:a16="http://schemas.microsoft.com/office/drawing/2014/main" id="{DCDBEAC4-158D-497C-B3F6-8001BD9C493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nternal Us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8943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cxnSp>
        <p:nvCxnSpPr>
          <p:cNvPr id="5" name="Straight Connector 26"/>
          <p:cNvCxnSpPr/>
          <p:nvPr userDrawn="1"/>
        </p:nvCxnSpPr>
        <p:spPr>
          <a:xfrm>
            <a:off x="0" y="598082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903404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0607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7659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07974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0960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877566"/>
      </p:ext>
    </p:extLst>
  </p:cSld>
  <p:clrMapOvr>
    <a:masterClrMapping/>
  </p:clrMapOvr>
  <p:transition>
    <p:wipe dir="d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3837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0006339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137963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512" y="-20538"/>
            <a:ext cx="9180512" cy="5184576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001135"/>
                </a:solidFill>
                <a:ea typeface="ヒラギノ角ゴ Pro W3"/>
                <a:cs typeface="Arial" charset="0"/>
              </a:rPr>
              <a:t>© Nokia 2017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3535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Rechteck 12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8555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29729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789" algn="l">
              <a:defRPr sz="1400">
                <a:solidFill>
                  <a:schemeClr val="tx2"/>
                </a:solidFill>
              </a:defRPr>
            </a:lvl2pPr>
            <a:lvl3pPr marL="691183" indent="-230394" algn="l">
              <a:defRPr sz="1200">
                <a:solidFill>
                  <a:schemeClr val="tx2"/>
                </a:solidFill>
              </a:defRPr>
            </a:lvl3pPr>
            <a:lvl4pPr marL="921577" algn="l">
              <a:defRPr sz="1000">
                <a:solidFill>
                  <a:schemeClr val="tx2"/>
                </a:solidFill>
              </a:defRPr>
            </a:lvl4pPr>
            <a:lvl5pPr marL="1151972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cs typeface="Arial" panose="020B0604020202020204" pitchFamily="34" charset="0"/>
              </a:rPr>
              <a:t>Interna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23499750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88001"/>
            <a:ext cx="8229600" cy="311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6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26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123194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7301497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2 Blue - one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7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FFFFFF"/>
                </a:solidFill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388" indent="-230388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460778" indent="-230388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 marL="691166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 marL="921554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1151943" indent="-228588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2"/>
            <a:ext cx="691200" cy="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0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8806334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98309371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4566658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322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ea typeface="ヒラギノ角ゴ Pro W3"/>
                <a:cs typeface="Arial" charset="0"/>
              </a:rPr>
              <a:t>© Nokia 2017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8065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4969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50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4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390896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1" y="537791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96704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88001"/>
            <a:ext cx="8229600" cy="311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6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26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803143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43745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2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91229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3139092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4438518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62247487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105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02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image" Target="../media/image19.png"/><Relationship Id="rId5" Type="http://schemas.openxmlformats.org/officeDocument/2006/relationships/slideLayout" Target="../slideLayouts/slideLayout122.xml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131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image" Target="../media/image19.png"/><Relationship Id="rId5" Type="http://schemas.openxmlformats.org/officeDocument/2006/relationships/slideLayout" Target="../slideLayouts/slideLayout140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15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image" Target="../media/image2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77.xml"/><Relationship Id="rId19" Type="http://schemas.openxmlformats.org/officeDocument/2006/relationships/theme" Target="../theme/theme19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87.xml"/><Relationship Id="rId16" Type="http://schemas.openxmlformats.org/officeDocument/2006/relationships/theme" Target="../theme/theme20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5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theme" Target="../theme/theme22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image" Target="../media/image17.png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.xml"/><Relationship Id="rId13" Type="http://schemas.openxmlformats.org/officeDocument/2006/relationships/slideLayout" Target="../slideLayouts/slideLayout238.xml"/><Relationship Id="rId3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2" Type="http://schemas.openxmlformats.org/officeDocument/2006/relationships/slideLayout" Target="../slideLayouts/slideLayout227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0.xml"/><Relationship Id="rId15" Type="http://schemas.openxmlformats.org/officeDocument/2006/relationships/theme" Target="../theme/theme23.xml"/><Relationship Id="rId10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slideLayout" Target="../slideLayouts/slideLayout23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2.xml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image" Target="../media/image31.png"/><Relationship Id="rId5" Type="http://schemas.openxmlformats.org/officeDocument/2006/relationships/theme" Target="../theme/theme24.xml"/><Relationship Id="rId4" Type="http://schemas.openxmlformats.org/officeDocument/2006/relationships/slideLayout" Target="../slideLayouts/slideLayout243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vmlDrawing" Target="../drawings/vmlDrawing6.vml"/><Relationship Id="rId2" Type="http://schemas.openxmlformats.org/officeDocument/2006/relationships/slideLayout" Target="../slideLayouts/slideLayout245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theme" Target="../theme/theme25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2.emf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oleObject" Target="../embeddings/oleObject6.bin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56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5" Type="http://schemas.openxmlformats.org/officeDocument/2006/relationships/slideLayout" Target="../slideLayouts/slideLayout258.xml"/><Relationship Id="rId4" Type="http://schemas.openxmlformats.org/officeDocument/2006/relationships/slideLayout" Target="../slideLayouts/slideLayout257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theme" Target="../theme/theme27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4" Type="http://schemas.openxmlformats.org/officeDocument/2006/relationships/image" Target="../media/image17.pn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68.xml"/><Relationship Id="rId12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66.xml"/><Relationship Id="rId10" Type="http://schemas.openxmlformats.org/officeDocument/2006/relationships/slideLayout" Target="../slideLayouts/slideLayout271.xml"/><Relationship Id="rId4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70.xml"/><Relationship Id="rId14" Type="http://schemas.openxmlformats.org/officeDocument/2006/relationships/image" Target="../media/image19.pn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3" Type="http://schemas.openxmlformats.org/officeDocument/2006/relationships/slideLayout" Target="../slideLayouts/slideLayout276.xml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2" Type="http://schemas.openxmlformats.org/officeDocument/2006/relationships/slideLayout" Target="../slideLayouts/slideLayout275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78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289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87.xml"/><Relationship Id="rId6" Type="http://schemas.openxmlformats.org/officeDocument/2006/relationships/theme" Target="../theme/theme30.xml"/><Relationship Id="rId11" Type="http://schemas.openxmlformats.org/officeDocument/2006/relationships/image" Target="../media/image36.png"/><Relationship Id="rId5" Type="http://schemas.openxmlformats.org/officeDocument/2006/relationships/slideLayout" Target="../slideLayouts/slideLayout291.xml"/><Relationship Id="rId10" Type="http://schemas.openxmlformats.org/officeDocument/2006/relationships/image" Target="../media/image32.emf"/><Relationship Id="rId4" Type="http://schemas.openxmlformats.org/officeDocument/2006/relationships/slideLayout" Target="../slideLayouts/slideLayout290.xml"/><Relationship Id="rId9" Type="http://schemas.openxmlformats.org/officeDocument/2006/relationships/oleObject" Target="../embeddings/oleObject11.bin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theme" Target="../theme/theme31.xml"/><Relationship Id="rId5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304.xml"/><Relationship Id="rId7" Type="http://schemas.openxmlformats.org/officeDocument/2006/relationships/vmlDrawing" Target="../drawings/vmlDrawing15.vml"/><Relationship Id="rId2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302.xml"/><Relationship Id="rId6" Type="http://schemas.openxmlformats.org/officeDocument/2006/relationships/theme" Target="../theme/theme32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306.xml"/><Relationship Id="rId10" Type="http://schemas.openxmlformats.org/officeDocument/2006/relationships/image" Target="../media/image32.emf"/><Relationship Id="rId4" Type="http://schemas.openxmlformats.org/officeDocument/2006/relationships/slideLayout" Target="../slideLayouts/slideLayout305.xml"/><Relationship Id="rId9" Type="http://schemas.openxmlformats.org/officeDocument/2006/relationships/oleObject" Target="../embeddings/oleObject15.bin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08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5" Type="http://schemas.openxmlformats.org/officeDocument/2006/relationships/slideLayout" Target="../slideLayouts/slideLayout31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10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2.xml"/><Relationship Id="rId13" Type="http://schemas.openxmlformats.org/officeDocument/2006/relationships/slideLayout" Target="../slideLayouts/slideLayout3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17.xml"/><Relationship Id="rId7" Type="http://schemas.openxmlformats.org/officeDocument/2006/relationships/slideLayout" Target="../slideLayouts/slideLayout321.xml"/><Relationship Id="rId12" Type="http://schemas.openxmlformats.org/officeDocument/2006/relationships/slideLayout" Target="../slideLayouts/slideLayout326.xml"/><Relationship Id="rId17" Type="http://schemas.openxmlformats.org/officeDocument/2006/relationships/theme" Target="../theme/theme34.xml"/><Relationship Id="rId2" Type="http://schemas.openxmlformats.org/officeDocument/2006/relationships/slideLayout" Target="../slideLayouts/slideLayout316.xml"/><Relationship Id="rId16" Type="http://schemas.openxmlformats.org/officeDocument/2006/relationships/slideLayout" Target="../slideLayouts/slideLayout330.xml"/><Relationship Id="rId1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20.xml"/><Relationship Id="rId11" Type="http://schemas.openxmlformats.org/officeDocument/2006/relationships/slideLayout" Target="../slideLayouts/slideLayout325.xml"/><Relationship Id="rId5" Type="http://schemas.openxmlformats.org/officeDocument/2006/relationships/slideLayout" Target="../slideLayouts/slideLayout319.xml"/><Relationship Id="rId15" Type="http://schemas.openxmlformats.org/officeDocument/2006/relationships/slideLayout" Target="../slideLayouts/slideLayout329.xml"/><Relationship Id="rId10" Type="http://schemas.openxmlformats.org/officeDocument/2006/relationships/slideLayout" Target="../slideLayouts/slideLayout324.xml"/><Relationship Id="rId4" Type="http://schemas.openxmlformats.org/officeDocument/2006/relationships/slideLayout" Target="../slideLayouts/slideLayout318.xml"/><Relationship Id="rId9" Type="http://schemas.openxmlformats.org/officeDocument/2006/relationships/slideLayout" Target="../slideLayouts/slideLayout323.xml"/><Relationship Id="rId14" Type="http://schemas.openxmlformats.org/officeDocument/2006/relationships/slideLayout" Target="../slideLayouts/slideLayout328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slideLayout" Target="../slideLayouts/slideLayout343.xml"/><Relationship Id="rId18" Type="http://schemas.openxmlformats.org/officeDocument/2006/relationships/theme" Target="../theme/theme35.xml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42.xml"/><Relationship Id="rId17" Type="http://schemas.openxmlformats.org/officeDocument/2006/relationships/slideLayout" Target="../slideLayouts/slideLayout347.xml"/><Relationship Id="rId2" Type="http://schemas.openxmlformats.org/officeDocument/2006/relationships/slideLayout" Target="../slideLayouts/slideLayout332.xml"/><Relationship Id="rId16" Type="http://schemas.openxmlformats.org/officeDocument/2006/relationships/slideLayout" Target="../slideLayouts/slideLayout346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5" Type="http://schemas.openxmlformats.org/officeDocument/2006/relationships/slideLayout" Target="../slideLayouts/slideLayout345.xml"/><Relationship Id="rId10" Type="http://schemas.openxmlformats.org/officeDocument/2006/relationships/slideLayout" Target="../slideLayouts/slideLayout340.xml"/><Relationship Id="rId19" Type="http://schemas.openxmlformats.org/officeDocument/2006/relationships/image" Target="../media/image40.png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Relationship Id="rId14" Type="http://schemas.openxmlformats.org/officeDocument/2006/relationships/slideLayout" Target="../slideLayouts/slideLayout344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theme" Target="../theme/theme36.xml"/><Relationship Id="rId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354.xml"/><Relationship Id="rId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5" Type="http://schemas.openxmlformats.org/officeDocument/2006/relationships/slideLayout" Target="../slideLayouts/slideLayout352.xml"/><Relationship Id="rId4" Type="http://schemas.openxmlformats.org/officeDocument/2006/relationships/slideLayout" Target="../slideLayouts/slideLayout351.xml"/><Relationship Id="rId9" Type="http://schemas.openxmlformats.org/officeDocument/2006/relationships/image" Target="../media/image44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2.xml"/><Relationship Id="rId3" Type="http://schemas.openxmlformats.org/officeDocument/2006/relationships/slideLayout" Target="../slideLayouts/slideLayout357.xml"/><Relationship Id="rId7" Type="http://schemas.openxmlformats.org/officeDocument/2006/relationships/slideLayout" Target="../slideLayouts/slideLayout361.xml"/><Relationship Id="rId2" Type="http://schemas.openxmlformats.org/officeDocument/2006/relationships/slideLayout" Target="../slideLayouts/slideLayout356.xml"/><Relationship Id="rId1" Type="http://schemas.openxmlformats.org/officeDocument/2006/relationships/slideLayout" Target="../slideLayouts/slideLayout355.xml"/><Relationship Id="rId6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9.xml"/><Relationship Id="rId10" Type="http://schemas.openxmlformats.org/officeDocument/2006/relationships/theme" Target="../theme/theme37.xml"/><Relationship Id="rId4" Type="http://schemas.openxmlformats.org/officeDocument/2006/relationships/slideLayout" Target="../slideLayouts/slideLayout358.xml"/><Relationship Id="rId9" Type="http://schemas.openxmlformats.org/officeDocument/2006/relationships/slideLayout" Target="../slideLayouts/slideLayout363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theme" Target="../theme/theme38.xml"/><Relationship Id="rId3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70.xml"/><Relationship Id="rId2" Type="http://schemas.openxmlformats.org/officeDocument/2006/relationships/slideLayout" Target="../slideLayouts/slideLayout365.xml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5" Type="http://schemas.openxmlformats.org/officeDocument/2006/relationships/slideLayout" Target="../slideLayouts/slideLayout368.xml"/><Relationship Id="rId4" Type="http://schemas.openxmlformats.org/officeDocument/2006/relationships/slideLayout" Target="../slideLayouts/slideLayout367.xml"/><Relationship Id="rId9" Type="http://schemas.openxmlformats.org/officeDocument/2006/relationships/image" Target="../media/image17.pn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8.xml"/><Relationship Id="rId3" Type="http://schemas.openxmlformats.org/officeDocument/2006/relationships/slideLayout" Target="../slideLayouts/slideLayout373.xml"/><Relationship Id="rId7" Type="http://schemas.openxmlformats.org/officeDocument/2006/relationships/slideLayout" Target="../slideLayouts/slideLayout377.xml"/><Relationship Id="rId2" Type="http://schemas.openxmlformats.org/officeDocument/2006/relationships/slideLayout" Target="../slideLayouts/slideLayout372.xml"/><Relationship Id="rId1" Type="http://schemas.openxmlformats.org/officeDocument/2006/relationships/slideLayout" Target="../slideLayouts/slideLayout371.xml"/><Relationship Id="rId6" Type="http://schemas.openxmlformats.org/officeDocument/2006/relationships/slideLayout" Target="../slideLayouts/slideLayout376.xml"/><Relationship Id="rId5" Type="http://schemas.openxmlformats.org/officeDocument/2006/relationships/slideLayout" Target="../slideLayouts/slideLayout375.xml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374.xml"/><Relationship Id="rId9" Type="http://schemas.openxmlformats.org/officeDocument/2006/relationships/theme" Target="../theme/theme3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jp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3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6.xml"/><Relationship Id="rId3" Type="http://schemas.openxmlformats.org/officeDocument/2006/relationships/slideLayout" Target="../slideLayouts/slideLayout381.xml"/><Relationship Id="rId7" Type="http://schemas.openxmlformats.org/officeDocument/2006/relationships/slideLayout" Target="../slideLayouts/slideLayout385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79.xml"/><Relationship Id="rId6" Type="http://schemas.openxmlformats.org/officeDocument/2006/relationships/slideLayout" Target="../slideLayouts/slideLayout384.xml"/><Relationship Id="rId11" Type="http://schemas.openxmlformats.org/officeDocument/2006/relationships/theme" Target="../theme/theme40.xml"/><Relationship Id="rId5" Type="http://schemas.openxmlformats.org/officeDocument/2006/relationships/slideLayout" Target="../slideLayouts/slideLayout383.xml"/><Relationship Id="rId10" Type="http://schemas.openxmlformats.org/officeDocument/2006/relationships/slideLayout" Target="../slideLayouts/slideLayout388.xml"/><Relationship Id="rId4" Type="http://schemas.openxmlformats.org/officeDocument/2006/relationships/slideLayout" Target="../slideLayouts/slideLayout382.xml"/><Relationship Id="rId9" Type="http://schemas.openxmlformats.org/officeDocument/2006/relationships/slideLayout" Target="../slideLayouts/slideLayout387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slideLayout" Target="../slideLayouts/slideLayout40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slideLayout" Target="../slideLayouts/slideLayout400.xml"/><Relationship Id="rId17" Type="http://schemas.openxmlformats.org/officeDocument/2006/relationships/theme" Target="../theme/theme41.xml"/><Relationship Id="rId2" Type="http://schemas.openxmlformats.org/officeDocument/2006/relationships/slideLayout" Target="../slideLayouts/slideLayout390.xml"/><Relationship Id="rId16" Type="http://schemas.openxmlformats.org/officeDocument/2006/relationships/slideLayout" Target="../slideLayouts/slideLayout404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slideLayout" Target="../slideLayouts/slideLayout403.xml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slideLayout" Target="../slideLayouts/slideLayout402.xml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7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06.xml"/><Relationship Id="rId1" Type="http://schemas.openxmlformats.org/officeDocument/2006/relationships/slideLayout" Target="../slideLayouts/slideLayout405.xml"/><Relationship Id="rId6" Type="http://schemas.openxmlformats.org/officeDocument/2006/relationships/theme" Target="../theme/theme42.xml"/><Relationship Id="rId5" Type="http://schemas.openxmlformats.org/officeDocument/2006/relationships/slideLayout" Target="../slideLayouts/slideLayout409.xml"/><Relationship Id="rId4" Type="http://schemas.openxmlformats.org/officeDocument/2006/relationships/slideLayout" Target="../slideLayouts/slideLayout408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theme" Target="../theme/theme43.xml"/><Relationship Id="rId3" Type="http://schemas.openxmlformats.org/officeDocument/2006/relationships/slideLayout" Target="../slideLayouts/slideLayout412.xml"/><Relationship Id="rId7" Type="http://schemas.openxmlformats.org/officeDocument/2006/relationships/slideLayout" Target="../slideLayouts/slideLayout416.xml"/><Relationship Id="rId2" Type="http://schemas.openxmlformats.org/officeDocument/2006/relationships/slideLayout" Target="../slideLayouts/slideLayout411.xml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5" Type="http://schemas.openxmlformats.org/officeDocument/2006/relationships/slideLayout" Target="../slideLayouts/slideLayout414.xml"/><Relationship Id="rId4" Type="http://schemas.openxmlformats.org/officeDocument/2006/relationships/slideLayout" Target="../slideLayouts/slideLayout413.xml"/><Relationship Id="rId9" Type="http://schemas.openxmlformats.org/officeDocument/2006/relationships/image" Target="../media/image17.pn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4.xml"/><Relationship Id="rId3" Type="http://schemas.openxmlformats.org/officeDocument/2006/relationships/slideLayout" Target="../slideLayouts/slideLayout419.xml"/><Relationship Id="rId7" Type="http://schemas.openxmlformats.org/officeDocument/2006/relationships/slideLayout" Target="../slideLayouts/slideLayout423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418.xml"/><Relationship Id="rId1" Type="http://schemas.openxmlformats.org/officeDocument/2006/relationships/slideLayout" Target="../slideLayouts/slideLayout417.xml"/><Relationship Id="rId6" Type="http://schemas.openxmlformats.org/officeDocument/2006/relationships/slideLayout" Target="../slideLayouts/slideLayout422.xml"/><Relationship Id="rId11" Type="http://schemas.openxmlformats.org/officeDocument/2006/relationships/theme" Target="../theme/theme44.xml"/><Relationship Id="rId5" Type="http://schemas.openxmlformats.org/officeDocument/2006/relationships/slideLayout" Target="../slideLayouts/slideLayout421.xml"/><Relationship Id="rId10" Type="http://schemas.openxmlformats.org/officeDocument/2006/relationships/slideLayout" Target="../slideLayouts/slideLayout426.xml"/><Relationship Id="rId4" Type="http://schemas.openxmlformats.org/officeDocument/2006/relationships/slideLayout" Target="../slideLayouts/slideLayout420.xml"/><Relationship Id="rId9" Type="http://schemas.openxmlformats.org/officeDocument/2006/relationships/slideLayout" Target="../slideLayouts/slideLayout425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4.xml"/><Relationship Id="rId13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429.xml"/><Relationship Id="rId7" Type="http://schemas.openxmlformats.org/officeDocument/2006/relationships/slideLayout" Target="../slideLayouts/slideLayout433.xml"/><Relationship Id="rId12" Type="http://schemas.openxmlformats.org/officeDocument/2006/relationships/slideLayout" Target="../slideLayouts/slideLayout43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428.xml"/><Relationship Id="rId16" Type="http://schemas.openxmlformats.org/officeDocument/2006/relationships/theme" Target="../theme/theme45.xml"/><Relationship Id="rId1" Type="http://schemas.openxmlformats.org/officeDocument/2006/relationships/slideLayout" Target="../slideLayouts/slideLayout427.xml"/><Relationship Id="rId6" Type="http://schemas.openxmlformats.org/officeDocument/2006/relationships/slideLayout" Target="../slideLayouts/slideLayout432.xml"/><Relationship Id="rId11" Type="http://schemas.openxmlformats.org/officeDocument/2006/relationships/slideLayout" Target="../slideLayouts/slideLayout437.xml"/><Relationship Id="rId5" Type="http://schemas.openxmlformats.org/officeDocument/2006/relationships/slideLayout" Target="../slideLayouts/slideLayout431.xml"/><Relationship Id="rId15" Type="http://schemas.openxmlformats.org/officeDocument/2006/relationships/slideLayout" Target="../slideLayouts/slideLayout441.xml"/><Relationship Id="rId10" Type="http://schemas.openxmlformats.org/officeDocument/2006/relationships/slideLayout" Target="../slideLayouts/slideLayout436.xml"/><Relationship Id="rId4" Type="http://schemas.openxmlformats.org/officeDocument/2006/relationships/slideLayout" Target="../slideLayouts/slideLayout430.xml"/><Relationship Id="rId9" Type="http://schemas.openxmlformats.org/officeDocument/2006/relationships/slideLayout" Target="../slideLayouts/slideLayout435.xml"/><Relationship Id="rId14" Type="http://schemas.openxmlformats.org/officeDocument/2006/relationships/slideLayout" Target="../slideLayouts/slideLayout440.xml"/></Relationships>
</file>

<file path=ppt/slideMasters/_rels/slideMaster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4.xml"/><Relationship Id="rId2" Type="http://schemas.openxmlformats.org/officeDocument/2006/relationships/slideLayout" Target="../slideLayouts/slideLayout443.xml"/><Relationship Id="rId1" Type="http://schemas.openxmlformats.org/officeDocument/2006/relationships/slideLayout" Target="../slideLayouts/slideLayout442.xml"/><Relationship Id="rId5" Type="http://schemas.openxmlformats.org/officeDocument/2006/relationships/image" Target="../media/image17.png"/><Relationship Id="rId4" Type="http://schemas.openxmlformats.org/officeDocument/2006/relationships/theme" Target="../theme/theme46.xml"/></Relationships>
</file>

<file path=ppt/slideMasters/_rels/slideMaster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7.xml"/><Relationship Id="rId2" Type="http://schemas.openxmlformats.org/officeDocument/2006/relationships/slideLayout" Target="../slideLayouts/slideLayout446.xml"/><Relationship Id="rId1" Type="http://schemas.openxmlformats.org/officeDocument/2006/relationships/slideLayout" Target="../slideLayouts/slideLayout445.xml"/><Relationship Id="rId6" Type="http://schemas.openxmlformats.org/officeDocument/2006/relationships/image" Target="../media/image1.png"/><Relationship Id="rId5" Type="http://schemas.openxmlformats.org/officeDocument/2006/relationships/theme" Target="../theme/theme47.xml"/><Relationship Id="rId4" Type="http://schemas.openxmlformats.org/officeDocument/2006/relationships/slideLayout" Target="../slideLayouts/slideLayout448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6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451.xml"/><Relationship Id="rId7" Type="http://schemas.openxmlformats.org/officeDocument/2006/relationships/slideLayout" Target="../slideLayouts/slideLayout455.xml"/><Relationship Id="rId12" Type="http://schemas.openxmlformats.org/officeDocument/2006/relationships/theme" Target="../theme/theme48.xml"/><Relationship Id="rId2" Type="http://schemas.openxmlformats.org/officeDocument/2006/relationships/slideLayout" Target="../slideLayouts/slideLayout450.xml"/><Relationship Id="rId1" Type="http://schemas.openxmlformats.org/officeDocument/2006/relationships/slideLayout" Target="../slideLayouts/slideLayout449.xml"/><Relationship Id="rId6" Type="http://schemas.openxmlformats.org/officeDocument/2006/relationships/slideLayout" Target="../slideLayouts/slideLayout454.xml"/><Relationship Id="rId11" Type="http://schemas.openxmlformats.org/officeDocument/2006/relationships/slideLayout" Target="../slideLayouts/slideLayout459.xml"/><Relationship Id="rId5" Type="http://schemas.openxmlformats.org/officeDocument/2006/relationships/slideLayout" Target="../slideLayouts/slideLayout453.xml"/><Relationship Id="rId10" Type="http://schemas.openxmlformats.org/officeDocument/2006/relationships/slideLayout" Target="../slideLayouts/slideLayout458.xml"/><Relationship Id="rId4" Type="http://schemas.openxmlformats.org/officeDocument/2006/relationships/slideLayout" Target="../slideLayouts/slideLayout452.xml"/><Relationship Id="rId9" Type="http://schemas.openxmlformats.org/officeDocument/2006/relationships/slideLayout" Target="../slideLayouts/slideLayout457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7.xml"/><Relationship Id="rId3" Type="http://schemas.openxmlformats.org/officeDocument/2006/relationships/slideLayout" Target="../slideLayouts/slideLayout462.xml"/><Relationship Id="rId7" Type="http://schemas.openxmlformats.org/officeDocument/2006/relationships/slideLayout" Target="../slideLayouts/slideLayout466.xml"/><Relationship Id="rId2" Type="http://schemas.openxmlformats.org/officeDocument/2006/relationships/slideLayout" Target="../slideLayouts/slideLayout461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5" Type="http://schemas.openxmlformats.org/officeDocument/2006/relationships/slideLayout" Target="../slideLayouts/slideLayout464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463.xml"/><Relationship Id="rId9" Type="http://schemas.openxmlformats.org/officeDocument/2006/relationships/theme" Target="../theme/theme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5.xml"/><Relationship Id="rId13" Type="http://schemas.openxmlformats.org/officeDocument/2006/relationships/slideLayout" Target="../slideLayouts/slideLayout480.xml"/><Relationship Id="rId3" Type="http://schemas.openxmlformats.org/officeDocument/2006/relationships/slideLayout" Target="../slideLayouts/slideLayout470.xml"/><Relationship Id="rId7" Type="http://schemas.openxmlformats.org/officeDocument/2006/relationships/slideLayout" Target="../slideLayouts/slideLayout474.xml"/><Relationship Id="rId12" Type="http://schemas.openxmlformats.org/officeDocument/2006/relationships/slideLayout" Target="../slideLayouts/slideLayout479.xml"/><Relationship Id="rId2" Type="http://schemas.openxmlformats.org/officeDocument/2006/relationships/slideLayout" Target="../slideLayouts/slideLayout469.xml"/><Relationship Id="rId1" Type="http://schemas.openxmlformats.org/officeDocument/2006/relationships/slideLayout" Target="../slideLayouts/slideLayout468.xml"/><Relationship Id="rId6" Type="http://schemas.openxmlformats.org/officeDocument/2006/relationships/slideLayout" Target="../slideLayouts/slideLayout473.xml"/><Relationship Id="rId11" Type="http://schemas.openxmlformats.org/officeDocument/2006/relationships/slideLayout" Target="../slideLayouts/slideLayout478.xml"/><Relationship Id="rId5" Type="http://schemas.openxmlformats.org/officeDocument/2006/relationships/slideLayout" Target="../slideLayouts/slideLayout472.xml"/><Relationship Id="rId10" Type="http://schemas.openxmlformats.org/officeDocument/2006/relationships/slideLayout" Target="../slideLayouts/slideLayout477.xml"/><Relationship Id="rId4" Type="http://schemas.openxmlformats.org/officeDocument/2006/relationships/slideLayout" Target="../slideLayouts/slideLayout471.xml"/><Relationship Id="rId9" Type="http://schemas.openxmlformats.org/officeDocument/2006/relationships/slideLayout" Target="../slideLayouts/slideLayout476.xml"/><Relationship Id="rId14" Type="http://schemas.openxmlformats.org/officeDocument/2006/relationships/theme" Target="../theme/theme50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8.xml"/><Relationship Id="rId13" Type="http://schemas.openxmlformats.org/officeDocument/2006/relationships/theme" Target="../theme/theme51.xml"/><Relationship Id="rId3" Type="http://schemas.openxmlformats.org/officeDocument/2006/relationships/slideLayout" Target="../slideLayouts/slideLayout483.xml"/><Relationship Id="rId7" Type="http://schemas.openxmlformats.org/officeDocument/2006/relationships/slideLayout" Target="../slideLayouts/slideLayout487.xml"/><Relationship Id="rId12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2.xml"/><Relationship Id="rId1" Type="http://schemas.openxmlformats.org/officeDocument/2006/relationships/slideLayout" Target="../slideLayouts/slideLayout481.xml"/><Relationship Id="rId6" Type="http://schemas.openxmlformats.org/officeDocument/2006/relationships/slideLayout" Target="../slideLayouts/slideLayout486.xml"/><Relationship Id="rId11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85.xml"/><Relationship Id="rId10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84.xml"/><Relationship Id="rId9" Type="http://schemas.openxmlformats.org/officeDocument/2006/relationships/slideLayout" Target="../slideLayouts/slideLayout489.xml"/><Relationship Id="rId14" Type="http://schemas.openxmlformats.org/officeDocument/2006/relationships/image" Target="../media/image1.png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theme" Target="../theme/theme52.xml"/><Relationship Id="rId3" Type="http://schemas.openxmlformats.org/officeDocument/2006/relationships/slideLayout" Target="../slideLayouts/slideLayout495.xml"/><Relationship Id="rId7" Type="http://schemas.openxmlformats.org/officeDocument/2006/relationships/slideLayout" Target="../slideLayouts/slideLayout499.xml"/><Relationship Id="rId2" Type="http://schemas.openxmlformats.org/officeDocument/2006/relationships/slideLayout" Target="../slideLayouts/slideLayout494.xml"/><Relationship Id="rId1" Type="http://schemas.openxmlformats.org/officeDocument/2006/relationships/slideLayout" Target="../slideLayouts/slideLayout493.xml"/><Relationship Id="rId6" Type="http://schemas.openxmlformats.org/officeDocument/2006/relationships/slideLayout" Target="../slideLayouts/slideLayout498.xml"/><Relationship Id="rId5" Type="http://schemas.openxmlformats.org/officeDocument/2006/relationships/slideLayout" Target="../slideLayouts/slideLayout497.xml"/><Relationship Id="rId4" Type="http://schemas.openxmlformats.org/officeDocument/2006/relationships/slideLayout" Target="../slideLayouts/slideLayout496.xml"/><Relationship Id="rId9" Type="http://schemas.openxmlformats.org/officeDocument/2006/relationships/image" Target="../media/image24.png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image" Target="../media/image1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ea typeface="Nokia Pure Text Light" panose="020B0403020202020204" pitchFamily="34" charset="0"/>
                <a:cs typeface="Arial" charset="0"/>
              </a:rPr>
              <a:t>© Nokia 2017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rgbClr val="001135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59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966" r:id="rId5"/>
    <p:sldLayoutId id="2147483971" r:id="rId6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6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1981" eaLnBrk="0" hangingPunct="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1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32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6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1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32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35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4" y="4643439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08/09/2019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9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959726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432001" y="4787901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68717A"/>
                </a:solidFill>
                <a:cs typeface="Arial" charset="0"/>
              </a:rPr>
              <a:t>Nokia 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536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61" r:id="rId8"/>
    <p:sldLayoutId id="2147484162" r:id="rId9"/>
  </p:sldLayoutIdLst>
  <p:hf sldNum="0" hdr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001135"/>
                </a:solidFill>
                <a:latin typeface="Arial" panose="020B0604020202020204" pitchFamily="34" charset="0"/>
                <a:ea typeface="Nokia Pure Text Light" panose="020B0403020202020204" pitchFamily="34" charset="0"/>
                <a:cs typeface="Arial" panose="020B0604020202020204" pitchFamily="34" charset="0"/>
              </a:rPr>
              <a:t>© 2016 Nokia</a:t>
            </a: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latin typeface="Arial" panose="020B0604020202020204" pitchFamily="34" charset="0"/>
                <a:ea typeface="Nokia Pure Text Light" panose="020B0403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1135"/>
              </a:solidFill>
              <a:latin typeface="Arial" panose="020B0604020202020204" pitchFamily="34" charset="0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1135"/>
                </a:solidFill>
              </a:rPr>
              <a:t>&lt;Change information classification in footer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9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67" r:id="rId3"/>
    <p:sldLayoutId id="2147484168" r:id="rId4"/>
    <p:sldLayoutId id="2147484169" r:id="rId5"/>
    <p:sldLayoutId id="2147484170" r:id="rId6"/>
    <p:sldLayoutId id="2147484172" r:id="rId7"/>
    <p:sldLayoutId id="2147484174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394638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963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2017 Nokia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Nokia Internal Use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320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394638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089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2017 Nokia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Nokia Internal Use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1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894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</p:sldLayoutIdLst>
  <p:hf sldNum="0"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394638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089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2017 Nokia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Nokia Internal Use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1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04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3" r:id="rId1"/>
    <p:sldLayoutId id="2147484234" r:id="rId2"/>
    <p:sldLayoutId id="2147484235" r:id="rId3"/>
    <p:sldLayoutId id="2147484236" r:id="rId4"/>
    <p:sldLayoutId id="2147484237" r:id="rId5"/>
    <p:sldLayoutId id="2147484238" r:id="rId6"/>
    <p:sldLayoutId id="2147484239" r:id="rId7"/>
    <p:sldLayoutId id="2147484240" r:id="rId8"/>
    <p:sldLayoutId id="2147484241" r:id="rId9"/>
  </p:sldLayoutIdLst>
  <p:hf sldNum="0"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394638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963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2018 Nokia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Nokia Internal Use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95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6" r:id="rId4"/>
    <p:sldLayoutId id="2147484247" r:id="rId5"/>
    <p:sldLayoutId id="2147484248" r:id="rId6"/>
    <p:sldLayoutId id="2147484249" r:id="rId7"/>
    <p:sldLayoutId id="2147484250" r:id="rId8"/>
    <p:sldLayoutId id="2147484251" r:id="rId9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394638" y="4816089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089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2017 Nokia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Nokia Internal Use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1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5289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</p:sldLayoutIdLst>
  <p:hf sldNum="0"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000000"/>
                </a:solidFill>
                <a:latin typeface="Nokia Pure Text"/>
                <a:ea typeface="Nokia Pure Text Light" panose="020B0403020202020204" pitchFamily="34" charset="0"/>
                <a:cs typeface="Arial" charset="0"/>
              </a:rPr>
              <a:t>© </a:t>
            </a:r>
            <a:r>
              <a:rPr lang="en-GB" sz="800" dirty="0">
                <a:solidFill>
                  <a:srgbClr val="000000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Nokia</a:t>
            </a:r>
            <a:r>
              <a:rPr lang="en-GB" sz="800" dirty="0">
                <a:solidFill>
                  <a:srgbClr val="000000"/>
                </a:solidFill>
                <a:latin typeface="Nokia Pure Text"/>
                <a:ea typeface="Nokia Pure Text Light" panose="020B0403020202020204" pitchFamily="34" charset="0"/>
                <a:cs typeface="Arial" charset="0"/>
              </a:rPr>
              <a:t> 2016</a:t>
            </a:r>
          </a:p>
        </p:txBody>
      </p:sp>
      <p:sp>
        <p:nvSpPr>
          <p:cNvPr id="29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000000"/>
                </a:solidFill>
                <a:latin typeface="Nokia Pure Text"/>
                <a:ea typeface="Nokia Pure Text Light" panose="020B0403020202020204" pitchFamily="34" charset="0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latin typeface="Nokia Pure Tex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079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7" r:id="rId1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zh-CN" sz="800" dirty="0">
                <a:solidFill>
                  <a:schemeClr val="tx2"/>
                </a:solidFill>
                <a:latin typeface="SimSun"/>
                <a:cs typeface="SimSun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5927"/>
            <a:ext cx="237898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zh-CN" sz="1000" dirty="0">
              <a:solidFill>
                <a:schemeClr val="tx2"/>
              </a:solidFill>
              <a:latin typeface="SimSun"/>
              <a:ea typeface="SimSun"/>
              <a:cs typeface="SimSun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8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842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3" r:id="rId1"/>
    <p:sldLayoutId id="2147484334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  <p:sldLayoutId id="2147484345" r:id="rId12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+mn-l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08/09/2019</a:t>
            </a:fld>
            <a:endParaRPr lang="en-GB" sz="80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bg2"/>
                </a:solidFill>
                <a:latin typeface="+mn-lt"/>
                <a:cs typeface="Arial" charset="0"/>
              </a:rPr>
              <a:t>Confidential</a:t>
            </a:r>
            <a:endParaRPr lang="en-GB" sz="800" dirty="0">
              <a:solidFill>
                <a:schemeClr val="bg2"/>
              </a:solidFill>
              <a:latin typeface="+mn-lt"/>
              <a:cs typeface="Arial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08B09AA-CBF2-42D1-A9A7-E03CF3826F66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3236" y="4726800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298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  <p:sldLayoutId id="2147484366" r:id="rId5"/>
    <p:sldLayoutId id="2147484367" r:id="rId6"/>
    <p:sldLayoutId id="2147484368" r:id="rId7"/>
    <p:sldLayoutId id="2147484369" r:id="rId8"/>
    <p:sldLayoutId id="2147484370" r:id="rId9"/>
    <p:sldLayoutId id="2147484371" r:id="rId10"/>
    <p:sldLayoutId id="2147484372" r:id="rId11"/>
    <p:sldLayoutId id="2147484373" r:id="rId12"/>
    <p:sldLayoutId id="2147484374" r:id="rId13"/>
    <p:sldLayoutId id="2147484376" r:id="rId14"/>
    <p:sldLayoutId id="2147484377" r:id="rId15"/>
    <p:sldLayoutId id="2147484378" r:id="rId16"/>
    <p:sldLayoutId id="2147484379" r:id="rId17"/>
    <p:sldLayoutId id="2147484381" r:id="rId18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14378" latinLnBrk="0"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chemeClr val="tx2"/>
                </a:solidFill>
                <a:ea typeface="ヒラギノ角ゴ Pro W3"/>
                <a:cs typeface="Arial" charset="0"/>
              </a:rPr>
              <a:t>© Nokia 2017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65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8" r:id="rId3"/>
    <p:sldLayoutId id="2147483739" r:id="rId4"/>
    <p:sldLayoutId id="2147483740" r:id="rId5"/>
    <p:sldLayoutId id="2147483969" r:id="rId6"/>
  </p:sldLayoutIdLst>
  <p:hf sldNum="0"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lang="en-US" sz="2000" b="0" kern="1200" baseline="0" dirty="0" smtClean="0">
          <a:solidFill>
            <a:schemeClr val="tx1"/>
          </a:solidFill>
          <a:latin typeface="+mj-lt"/>
          <a:ea typeface="+mj-ea"/>
          <a:cs typeface="+mj-cs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</a:t>
            </a:r>
            <a:r>
              <a:rPr lang="en-US" dirty="0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rgbClr val="001135"/>
                </a:solidFill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rgbClr val="001135"/>
                </a:solidFill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rgbClr val="001135"/>
              </a:solidFill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8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095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4" r:id="rId1"/>
    <p:sldLayoutId id="2147484385" r:id="rId2"/>
    <p:sldLayoutId id="2147484386" r:id="rId3"/>
    <p:sldLayoutId id="2147484387" r:id="rId4"/>
    <p:sldLayoutId id="2147484388" r:id="rId5"/>
    <p:sldLayoutId id="2147484389" r:id="rId6"/>
    <p:sldLayoutId id="2147484390" r:id="rId7"/>
    <p:sldLayoutId id="2147484391" r:id="rId8"/>
    <p:sldLayoutId id="2147484392" r:id="rId9"/>
    <p:sldLayoutId id="2147484393" r:id="rId10"/>
    <p:sldLayoutId id="2147484394" r:id="rId11"/>
    <p:sldLayoutId id="2147484395" r:id="rId12"/>
    <p:sldLayoutId id="2147484396" r:id="rId13"/>
    <p:sldLayoutId id="2147484397" r:id="rId14"/>
    <p:sldLayoutId id="2147484399" r:id="rId15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1084856" y="4784726"/>
            <a:ext cx="367873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2"/>
                </a:solidFill>
                <a:cs typeface="Arial" charset="0"/>
              </a:rPr>
              <a:t>Confidential, 2018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585787" y="4778420"/>
            <a:ext cx="250235" cy="1349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5087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1" r:id="rId1"/>
    <p:sldLayoutId id="2147484402" r:id="rId2"/>
    <p:sldLayoutId id="2147484403" r:id="rId3"/>
    <p:sldLayoutId id="2147484404" r:id="rId4"/>
    <p:sldLayoutId id="2147484405" r:id="rId5"/>
    <p:sldLayoutId id="2147484407" r:id="rId6"/>
    <p:sldLayoutId id="2147484408" r:id="rId7"/>
    <p:sldLayoutId id="2147484415" r:id="rId8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cxnSp>
        <p:nvCxnSpPr>
          <p:cNvPr id="9" name="Straight Connector 26"/>
          <p:cNvCxnSpPr/>
          <p:nvPr userDrawn="1"/>
        </p:nvCxnSpPr>
        <p:spPr>
          <a:xfrm>
            <a:off x="0" y="598082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>
            <a:extLst>
              <a:ext uri="{FF2B5EF4-FFF2-40B4-BE49-F238E27FC236}">
                <a16:creationId xmlns:a16="http://schemas.microsoft.com/office/drawing/2014/main" id="{0CCA31BB-D05A-455D-9E8C-72DA0A8E758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5F51157B-8F13-40CB-B114-A0617F02E496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pic>
        <p:nvPicPr>
          <p:cNvPr id="14" name="Picture 1">
            <a:extLst>
              <a:ext uri="{FF2B5EF4-FFF2-40B4-BE49-F238E27FC236}">
                <a16:creationId xmlns:a16="http://schemas.microsoft.com/office/drawing/2014/main" id="{C3966324-A08C-4AB5-B8D8-62C0E719F858}"/>
              </a:ext>
            </a:extLst>
          </p:cNvPr>
          <p:cNvPicPr>
            <a:picLocks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F1F3FF9-2608-40D5-9B94-2DB2D5205A3F}"/>
              </a:ext>
            </a:extLst>
          </p:cNvPr>
          <p:cNvSpPr txBox="1"/>
          <p:nvPr userDrawn="1"/>
        </p:nvSpPr>
        <p:spPr>
          <a:xfrm>
            <a:off x="1084856" y="4784726"/>
            <a:ext cx="367873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2"/>
                </a:solidFill>
                <a:cs typeface="Arial" charset="0"/>
              </a:rPr>
              <a:t>Confidential, 2018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166DD0F-F9E6-4C27-B50C-2B05DD93FC34}"/>
              </a:ext>
            </a:extLst>
          </p:cNvPr>
          <p:cNvSpPr txBox="1">
            <a:spLocks/>
          </p:cNvSpPr>
          <p:nvPr userDrawn="1"/>
        </p:nvSpPr>
        <p:spPr>
          <a:xfrm>
            <a:off x="585787" y="4778420"/>
            <a:ext cx="250235" cy="1349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7342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7" r:id="rId1"/>
    <p:sldLayoutId id="2147484418" r:id="rId2"/>
    <p:sldLayoutId id="2147484419" r:id="rId3"/>
    <p:sldLayoutId id="2147484420" r:id="rId4"/>
    <p:sldLayoutId id="2147484421" r:id="rId5"/>
    <p:sldLayoutId id="2147484422" r:id="rId6"/>
    <p:sldLayoutId id="2147484423" r:id="rId7"/>
    <p:sldLayoutId id="2147484424" r:id="rId8"/>
    <p:sldLayoutId id="2147484425" r:id="rId9"/>
    <p:sldLayoutId id="2147484426" r:id="rId10"/>
    <p:sldLayoutId id="2147484427" r:id="rId11"/>
    <p:sldLayoutId id="2147484428" r:id="rId12"/>
    <p:sldLayoutId id="2147484429" r:id="rId13"/>
    <p:sldLayoutId id="2147484430" r:id="rId14"/>
    <p:sldLayoutId id="2147484431" r:id="rId15"/>
    <p:sldLayoutId id="2147484432" r:id="rId16"/>
    <p:sldLayoutId id="2147484433" r:id="rId1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0" name="Line 12">
            <a:extLst>
              <a:ext uri="{FF2B5EF4-FFF2-40B4-BE49-F238E27FC236}">
                <a16:creationId xmlns:a16="http://schemas.microsoft.com/office/drawing/2014/main" id="{122E3768-42AB-4FAB-95D3-26706AB4E611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1" name="Line 12">
            <a:extLst>
              <a:ext uri="{FF2B5EF4-FFF2-40B4-BE49-F238E27FC236}">
                <a16:creationId xmlns:a16="http://schemas.microsoft.com/office/drawing/2014/main" id="{022BCC90-2170-4A37-A2EE-426FAEA1C177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FDBB3566-45D9-409E-82A9-738FF5C3DFFE}"/>
              </a:ext>
            </a:extLst>
          </p:cNvPr>
          <p:cNvPicPr>
            <a:picLocks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0A52064-0717-4C5F-BB0C-EA2D06C82102}"/>
              </a:ext>
            </a:extLst>
          </p:cNvPr>
          <p:cNvSpPr txBox="1"/>
          <p:nvPr userDrawn="1"/>
        </p:nvSpPr>
        <p:spPr>
          <a:xfrm>
            <a:off x="1084856" y="4784726"/>
            <a:ext cx="367873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2"/>
                </a:solidFill>
                <a:cs typeface="Arial" charset="0"/>
              </a:rPr>
              <a:t>Confidential, 2018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D613DA6-9783-4439-963E-40EEC633E55D}"/>
              </a:ext>
            </a:extLst>
          </p:cNvPr>
          <p:cNvSpPr txBox="1">
            <a:spLocks/>
          </p:cNvSpPr>
          <p:nvPr userDrawn="1"/>
        </p:nvSpPr>
        <p:spPr>
          <a:xfrm>
            <a:off x="585787" y="4778420"/>
            <a:ext cx="250235" cy="1349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689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3" r:id="rId8"/>
    <p:sldLayoutId id="2147484444" r:id="rId9"/>
    <p:sldLayoutId id="2147484445" r:id="rId10"/>
    <p:sldLayoutId id="2147484446" r:id="rId11"/>
    <p:sldLayoutId id="2147484447" r:id="rId12"/>
    <p:sldLayoutId id="2147484448" r:id="rId13"/>
    <p:sldLayoutId id="2147484449" r:id="rId14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64853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2" r:id="rId1"/>
    <p:sldLayoutId id="2147484463" r:id="rId2"/>
    <p:sldLayoutId id="2147484464" r:id="rId3"/>
    <p:sldLayoutId id="2147484465" r:id="rId4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237898" cy="12223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+mn-lt"/>
                <a:cs typeface="Arial" charset="0"/>
              </a:rPr>
              <a:t>© Nokia 2017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719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4468" r:id="rId2"/>
    <p:sldLayoutId id="2147484469" r:id="rId3"/>
    <p:sldLayoutId id="2147484470" r:id="rId4"/>
    <p:sldLayoutId id="2147484471" r:id="rId5"/>
    <p:sldLayoutId id="2147484472" r:id="rId6"/>
    <p:sldLayoutId id="2147484473" r:id="rId7"/>
    <p:sldLayoutId id="2147484474" r:id="rId8"/>
    <p:sldLayoutId id="2147484475" r:id="rId9"/>
    <p:sldLayoutId id="2147484476" r:id="rId10"/>
  </p:sldLayoutIdLst>
  <p:transition>
    <p:fade/>
  </p:transition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990" y="197684"/>
            <a:ext cx="6542353" cy="371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8298" tIns="39146" rIns="78298" bIns="3914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9397" y="1091308"/>
            <a:ext cx="1910472" cy="3384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8298" tIns="39146" rIns="78298" bIns="39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0611" y="4839988"/>
            <a:ext cx="2131245" cy="20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0257" tIns="35124" rIns="70257" bIns="35124" numCol="1" anchor="t" anchorCtr="0" compatLnSpc="1">
            <a:prstTxWarp prst="textNoShape">
              <a:avLst/>
            </a:prstTxWarp>
          </a:bodyPr>
          <a:lstStyle>
            <a:lvl1pPr algn="r">
              <a:defRPr kumimoji="0" sz="799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</a:lstStyle>
          <a:p>
            <a:pPr>
              <a:defRPr/>
            </a:pPr>
            <a:fld id="{F36CBE87-8C50-4E46-B150-3FC4633502D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116" y="197684"/>
            <a:ext cx="1610745" cy="42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389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5" r:id="rId6"/>
  </p:sldLayoutIdLst>
  <p:transition/>
  <p:hf hdr="0" ftr="0" dt="0"/>
  <p:txStyles>
    <p:titleStyle>
      <a:lvl1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2pPr>
      <a:lvl3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3pPr>
      <a:lvl4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4pPr>
      <a:lvl5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5pPr>
      <a:lvl6pPr marL="352109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6pPr>
      <a:lvl7pPr marL="704201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7pPr>
      <a:lvl8pPr marL="1056301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8pPr>
      <a:lvl9pPr marL="1408397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9pPr>
    </p:titleStyle>
    <p:bodyStyle>
      <a:lvl1pPr marL="133304" indent="-133304" algn="just" defTabSz="782692" rtl="0" eaLnBrk="1" fontAlgn="base" hangingPunct="1">
        <a:lnSpc>
          <a:spcPct val="110000"/>
        </a:lnSpc>
        <a:spcBef>
          <a:spcPct val="40000"/>
        </a:spcBef>
        <a:spcAft>
          <a:spcPct val="0"/>
        </a:spcAft>
        <a:buSzPct val="80000"/>
        <a:buFont typeface="Wingdings" pitchFamily="2" charset="2"/>
        <a:buChar char="n"/>
        <a:defRPr sz="1499">
          <a:solidFill>
            <a:schemeClr val="tx1"/>
          </a:solidFill>
          <a:latin typeface="+mn-lt"/>
          <a:ea typeface="+mn-ea"/>
          <a:cs typeface="+mn-cs"/>
        </a:defRPr>
      </a:lvl1pPr>
      <a:lvl2pPr marL="406026" indent="-132081" algn="just" defTabSz="782692" rtl="0" eaLnBrk="1" fontAlgn="base" hangingPunct="1">
        <a:lnSpc>
          <a:spcPct val="110000"/>
        </a:lnSpc>
        <a:spcBef>
          <a:spcPct val="40000"/>
        </a:spcBef>
        <a:spcAft>
          <a:spcPct val="0"/>
        </a:spcAft>
        <a:buSzPct val="80000"/>
        <a:buFont typeface="Arial" charset="0"/>
        <a:buChar char="–"/>
        <a:defRPr sz="1499">
          <a:solidFill>
            <a:schemeClr val="tx1"/>
          </a:solidFill>
          <a:latin typeface="+mn-lt"/>
          <a:ea typeface="+mn-ea"/>
        </a:defRPr>
      </a:lvl2pPr>
      <a:lvl3pPr marL="988159" indent="-193231" algn="l" defTabSz="782692" rtl="0" eaLnBrk="1" fontAlgn="base" hangingPunct="1">
        <a:spcBef>
          <a:spcPct val="20000"/>
        </a:spcBef>
        <a:spcAft>
          <a:spcPct val="0"/>
        </a:spcAft>
        <a:buChar char="•"/>
        <a:defRPr sz="2198">
          <a:solidFill>
            <a:schemeClr val="tx1"/>
          </a:solidFill>
          <a:latin typeface="+mn-lt"/>
          <a:ea typeface="楷体_GB2312" pitchFamily="49" charset="-122"/>
        </a:defRPr>
      </a:lvl3pPr>
      <a:lvl4pPr marL="1322018" indent="-193231" algn="l" defTabSz="782692" rtl="0" eaLnBrk="1" fontAlgn="base" hangingPunct="1">
        <a:spcBef>
          <a:spcPct val="20000"/>
        </a:spcBef>
        <a:spcAft>
          <a:spcPct val="0"/>
        </a:spcAft>
        <a:buChar char="–"/>
        <a:defRPr sz="1698">
          <a:solidFill>
            <a:schemeClr val="tx1"/>
          </a:solidFill>
          <a:latin typeface="+mn-lt"/>
          <a:ea typeface="楷体_GB2312" pitchFamily="49" charset="-122"/>
        </a:defRPr>
      </a:lvl4pPr>
      <a:lvl5pPr marL="1655888" indent="-193231" algn="l" defTabSz="782692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楷体_GB2312" pitchFamily="49" charset="-122"/>
        </a:defRPr>
      </a:lvl5pPr>
      <a:lvl6pPr marL="2009897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6pPr>
      <a:lvl7pPr marL="2361994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7pPr>
      <a:lvl8pPr marL="2714098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8pPr>
      <a:lvl9pPr marL="3066197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1pPr>
      <a:lvl2pPr marL="352109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2pPr>
      <a:lvl3pPr marL="704201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3pPr>
      <a:lvl4pPr marL="1056301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4pPr>
      <a:lvl5pPr marL="14083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5pPr>
      <a:lvl6pPr marL="1760498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7pPr>
      <a:lvl8pPr marL="24646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8pPr>
      <a:lvl9pPr marL="28167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7 Nokia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B5F3305F-39D1-42F3-AE78-DEDC8A22E648}"/>
              </a:ext>
            </a:extLst>
          </p:cNvPr>
          <p:cNvPicPr>
            <a:picLocks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7959728" y="4672015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6540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8" r:id="rId1"/>
    <p:sldLayoutId id="2147484489" r:id="rId2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Nokia</a:t>
            </a:r>
            <a:r>
              <a:rPr lang="en-GB" sz="800" baseline="0" dirty="0">
                <a:solidFill>
                  <a:schemeClr val="tx2"/>
                </a:solidFill>
                <a:latin typeface="+mn-lt"/>
                <a:cs typeface="Arial" charset="0"/>
              </a:rPr>
              <a:t> Solutions and Networks</a:t>
            </a:r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 2015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39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  <p:sldLayoutId id="2147484496" r:id="rId2"/>
    <p:sldLayoutId id="2147484497" r:id="rId3"/>
    <p:sldLayoutId id="2147484498" r:id="rId4"/>
    <p:sldLayoutId id="2147484499" r:id="rId5"/>
    <p:sldLayoutId id="2147484500" r:id="rId6"/>
    <p:sldLayoutId id="2147484501" r:id="rId7"/>
    <p:sldLayoutId id="2147484502" r:id="rId8"/>
    <p:sldLayoutId id="2147484503" r:id="rId9"/>
    <p:sldLayoutId id="2147484505" r:id="rId10"/>
    <p:sldLayoutId id="2147484506" r:id="rId11"/>
    <p:sldLayoutId id="2147484507" r:id="rId12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Nokia</a:t>
            </a:r>
            <a:r>
              <a:rPr lang="en-GB" sz="800" baseline="0" dirty="0">
                <a:solidFill>
                  <a:schemeClr val="tx2"/>
                </a:solidFill>
                <a:latin typeface="+mn-lt"/>
                <a:cs typeface="Arial" charset="0"/>
              </a:rPr>
              <a:t> Solutions and Networks</a:t>
            </a:r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 2015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34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  <p:sldLayoutId id="2147484519" r:id="rId11"/>
    <p:sldLayoutId id="2147484520" r:id="rId12"/>
    <p:sldLayoutId id="2147484521" r:id="rId13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0800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0000"/>
            <a:ext cx="8308800" cy="35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3388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7</a:t>
            </a:r>
          </a:p>
        </p:txBody>
      </p:sp>
    </p:spTree>
    <p:extLst>
      <p:ext uri="{BB962C8B-B14F-4D97-AF65-F5344CB8AC3E}">
        <p14:creationId xmlns:p14="http://schemas.microsoft.com/office/powerpoint/2010/main" val="404674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</p:sldLayoutIdLst>
  <p:hf sldNum="0"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bg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1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27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29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30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31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32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33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1034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US" sz="1199"/>
          </a:p>
        </p:txBody>
      </p:sp>
      <p:sp>
        <p:nvSpPr>
          <p:cNvPr id="7179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4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8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4" y="1089026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7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89933" tIns="46765" rIns="89933" bIns="46765">
            <a:spAutoFit/>
          </a:bodyPr>
          <a:lstStyle/>
          <a:p>
            <a:pPr algn="ctr" defTabSz="761466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999">
                <a:solidFill>
                  <a:schemeClr val="tx2"/>
                </a:solidFill>
                <a:latin typeface="Nokia Pure Text Light" pitchFamily="34" charset="0"/>
              </a:rPr>
              <a:t>To change the document information in the footer, press [Alt + F8] and use the “FORM“</a:t>
            </a:r>
          </a:p>
        </p:txBody>
      </p:sp>
      <p:sp>
        <p:nvSpPr>
          <p:cNvPr id="1038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  <a:t>R 18 </a:t>
            </a:r>
            <a:b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  <a:t>G 65 </a:t>
            </a:r>
            <a:b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  <a:t>B 145</a:t>
            </a:r>
          </a:p>
        </p:txBody>
      </p:sp>
      <p:sp>
        <p:nvSpPr>
          <p:cNvPr id="1039" name="AutoShape 58"/>
          <p:cNvSpPr>
            <a:spLocks noChangeArrowheads="1"/>
          </p:cNvSpPr>
          <p:nvPr/>
        </p:nvSpPr>
        <p:spPr bwMode="auto">
          <a:xfrm>
            <a:off x="1835150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  <a:t>R 0 </a:t>
            </a:r>
            <a:b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  <a:t>G 201 </a:t>
            </a:r>
            <a:b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</a:br>
            <a: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4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7986" tIns="251811" rIns="17986" bIns="0"/>
          <a:lstStyle/>
          <a:p>
            <a:pPr defTabSz="604224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1043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986" tIns="0" rIns="35973" bIns="0" anchor="ctr"/>
          <a:lstStyle/>
          <a:p>
            <a:pPr algn="r"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>
                <a:solidFill>
                  <a:schemeClr val="tx2"/>
                </a:solidFill>
                <a:cs typeface="Arial" pitchFamily="34" charset="0"/>
              </a:rPr>
              <a:t>Core and </a:t>
            </a:r>
            <a:r>
              <a:rPr lang="en-GB" sz="500" b="1">
                <a:solidFill>
                  <a:schemeClr val="tx2"/>
                </a:solidFill>
                <a:latin typeface="Nokia Pure Text Light" pitchFamily="34" charset="0"/>
                <a:cs typeface="Arial" pitchFamily="34" charset="0"/>
              </a:rPr>
              <a:t>background</a:t>
            </a:r>
            <a:r>
              <a:rPr lang="en-GB" sz="500" b="1">
                <a:solidFill>
                  <a:schemeClr val="tx2"/>
                </a:solidFill>
                <a:cs typeface="Arial" pitchFamily="34" charset="0"/>
              </a:rPr>
              <a:t> colors:</a:t>
            </a:r>
          </a:p>
        </p:txBody>
      </p:sp>
      <p:sp>
        <p:nvSpPr>
          <p:cNvPr id="1044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Nokia Pure Text Light" pitchFamily="34" charset="0"/>
              <a:cs typeface="Arial" pitchFamily="34" charset="0"/>
            </a:endParaRPr>
          </a:p>
        </p:txBody>
      </p:sp>
      <p:sp>
        <p:nvSpPr>
          <p:cNvPr id="1045" name="AutoShape 58"/>
          <p:cNvSpPr>
            <a:spLocks noChangeArrowheads="1"/>
          </p:cNvSpPr>
          <p:nvPr/>
        </p:nvSpPr>
        <p:spPr bwMode="auto">
          <a:xfrm>
            <a:off x="1835150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Nokia Pure Text Light" pitchFamily="34" charset="0"/>
              <a:cs typeface="Arial" pitchFamily="34" charset="0"/>
            </a:endParaRPr>
          </a:p>
        </p:txBody>
      </p:sp>
      <p:sp>
        <p:nvSpPr>
          <p:cNvPr id="1046" name="AutoShape 59"/>
          <p:cNvSpPr>
            <a:spLocks noChangeArrowheads="1"/>
          </p:cNvSpPr>
          <p:nvPr/>
        </p:nvSpPr>
        <p:spPr bwMode="auto">
          <a:xfrm>
            <a:off x="2195514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Nokia Pure Text Light" pitchFamily="34" charset="0"/>
              <a:cs typeface="Arial" pitchFamily="34" charset="0"/>
            </a:endParaRPr>
          </a:p>
        </p:txBody>
      </p:sp>
      <p:sp>
        <p:nvSpPr>
          <p:cNvPr id="1047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986" tIns="0" rIns="35973" bIns="0" anchor="ctr"/>
          <a:lstStyle/>
          <a:p>
            <a:pPr algn="r" defTabSz="602828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799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08/09/2019</a:t>
            </a:fld>
            <a:endParaRPr lang="en-GB" sz="799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5256139-588F-4B68-AE8E-09CCEBBCD258}" type="slidenum">
              <a:rPr lang="en-GB" sz="799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999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pic>
        <p:nvPicPr>
          <p:cNvPr id="7194" name="Picture 1"/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9726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1" name="TextBox 2"/>
          <p:cNvSpPr txBox="1">
            <a:spLocks noChangeArrowheads="1"/>
          </p:cNvSpPr>
          <p:nvPr/>
        </p:nvSpPr>
        <p:spPr bwMode="auto">
          <a:xfrm>
            <a:off x="1341439" y="4643439"/>
            <a:ext cx="607853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799" dirty="0">
                <a:solidFill>
                  <a:schemeClr val="bg2"/>
                </a:solidFill>
                <a:latin typeface="Nokia Pure Text Light" pitchFamily="34" charset="0"/>
                <a:cs typeface="Arial" pitchFamily="34" charset="0"/>
              </a:rPr>
              <a:t>© Nokia 2017   -   MN Vertical Network Slices</a:t>
            </a:r>
          </a:p>
        </p:txBody>
      </p:sp>
    </p:spTree>
    <p:extLst>
      <p:ext uri="{BB962C8B-B14F-4D97-AF65-F5344CB8AC3E}">
        <p14:creationId xmlns:p14="http://schemas.microsoft.com/office/powerpoint/2010/main" val="785279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</p:sldLayoutIdLst>
  <p:hf sldNum="0" hdr="0"/>
  <p:txStyles>
    <p:titleStyle>
      <a:lvl1pPr algn="l" defTabSz="456879" rtl="0" eaLnBrk="0" fontAlgn="base" hangingPunct="0">
        <a:spcBef>
          <a:spcPct val="0"/>
        </a:spcBef>
        <a:spcAft>
          <a:spcPct val="0"/>
        </a:spcAft>
        <a:defRPr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2pPr>
      <a:lvl3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3pPr>
      <a:lvl4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4pPr>
      <a:lvl5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5pPr>
      <a:lvl6pPr marL="456879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3760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0639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7520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027" indent="-230027" algn="l" defTabSz="456879" rtl="0" eaLnBrk="0" fontAlgn="base" hangingPunct="0">
        <a:spcBef>
          <a:spcPct val="0"/>
        </a:spcBef>
        <a:spcAft>
          <a:spcPts val="599"/>
        </a:spcAft>
        <a:buFont typeface="Arial" pitchFamily="34" charset="0"/>
        <a:buChar char="•"/>
        <a:defRPr sz="3198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467" indent="-228440" algn="l" defTabSz="456879" rtl="0" eaLnBrk="0" fontAlgn="base" hangingPunct="0">
        <a:spcBef>
          <a:spcPct val="0"/>
        </a:spcBef>
        <a:spcAft>
          <a:spcPts val="599"/>
        </a:spcAft>
        <a:buFont typeface="Lucida Grande"/>
        <a:buChar char="-"/>
        <a:defRPr sz="27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3734" indent="-225267" algn="l" defTabSz="456879" rtl="0" eaLnBrk="0" fontAlgn="base" hangingPunct="0">
        <a:spcBef>
          <a:spcPct val="0"/>
        </a:spcBef>
        <a:spcAft>
          <a:spcPts val="599"/>
        </a:spcAft>
        <a:buFont typeface="Arial" pitchFamily="34" charset="0"/>
        <a:buChar char="•"/>
        <a:defRPr sz="23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174" indent="-228440" algn="l" defTabSz="456879" rtl="0" eaLnBrk="0" fontAlgn="base" hangingPunct="0">
        <a:spcBef>
          <a:spcPct val="0"/>
        </a:spcBef>
        <a:spcAft>
          <a:spcPts val="599"/>
        </a:spcAft>
        <a:buFont typeface="Lucida Grande"/>
        <a:buChar char="-"/>
        <a:defRPr sz="19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2200" indent="-230027" algn="l" defTabSz="456879" rtl="0" eaLnBrk="0" fontAlgn="base" hangingPunct="0">
        <a:spcBef>
          <a:spcPct val="0"/>
        </a:spcBef>
        <a:spcAft>
          <a:spcPts val="599"/>
        </a:spcAft>
        <a:buFont typeface="Arial" pitchFamily="34" charset="0"/>
        <a:buChar char="•"/>
        <a:defRPr sz="19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283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71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59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47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87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76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63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39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28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15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04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3" y="4816801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799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999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1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799" dirty="0">
                <a:solidFill>
                  <a:schemeClr val="tx2"/>
                </a:solidFill>
                <a:latin typeface="+mn-lt"/>
                <a:cs typeface="Arial" charset="0"/>
              </a:rPr>
              <a:t>© Nokia 2018</a:t>
            </a: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1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9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Nokia Internal Use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1" y="280989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601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4" r:id="rId1"/>
    <p:sldLayoutId id="2147484545" r:id="rId2"/>
    <p:sldLayoutId id="2147484546" r:id="rId3"/>
    <p:sldLayoutId id="2147484547" r:id="rId4"/>
    <p:sldLayoutId id="2147484548" r:id="rId5"/>
    <p:sldLayoutId id="2147484549" r:id="rId6"/>
    <p:sldLayoutId id="2147484550" r:id="rId7"/>
    <p:sldLayoutId id="2147484551" r:id="rId8"/>
    <p:sldLayoutId id="2147484552" r:id="rId9"/>
    <p:sldLayoutId id="2147484553" r:id="rId10"/>
  </p:sldLayoutIdLst>
  <p:transition spd="med">
    <p:fade/>
  </p:transition>
  <p:hf sldNum="0" hdr="0" dt="0"/>
  <p:txStyles>
    <p:titleStyle>
      <a:lvl1pPr algn="l" defTabSz="456879" rtl="0" eaLnBrk="1" fontAlgn="base" hangingPunct="1">
        <a:spcBef>
          <a:spcPct val="0"/>
        </a:spcBef>
        <a:spcAft>
          <a:spcPct val="0"/>
        </a:spcAft>
        <a:defRPr sz="1998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6879" rtl="0" eaLnBrk="1" fontAlgn="base" hangingPunct="1">
        <a:spcBef>
          <a:spcPct val="0"/>
        </a:spcBef>
        <a:spcAft>
          <a:spcPct val="0"/>
        </a:spcAft>
        <a:defRPr sz="439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6879" rtl="0" eaLnBrk="1" fontAlgn="base" hangingPunct="1">
        <a:spcBef>
          <a:spcPct val="0"/>
        </a:spcBef>
        <a:spcAft>
          <a:spcPct val="0"/>
        </a:spcAft>
        <a:defRPr sz="439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6879" rtl="0" eaLnBrk="1" fontAlgn="base" hangingPunct="1">
        <a:spcBef>
          <a:spcPct val="0"/>
        </a:spcBef>
        <a:spcAft>
          <a:spcPct val="0"/>
        </a:spcAft>
        <a:defRPr sz="439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6879" rtl="0" eaLnBrk="1" fontAlgn="base" hangingPunct="1">
        <a:spcBef>
          <a:spcPct val="0"/>
        </a:spcBef>
        <a:spcAft>
          <a:spcPct val="0"/>
        </a:spcAft>
        <a:defRPr sz="4397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6879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3760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0639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7520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027" indent="-230027" algn="l" defTabSz="456879" rtl="0" eaLnBrk="1" fontAlgn="base" hangingPunct="1">
        <a:spcBef>
          <a:spcPct val="0"/>
        </a:spcBef>
        <a:spcAft>
          <a:spcPts val="599"/>
        </a:spcAft>
        <a:buFont typeface="Arial" charset="0"/>
        <a:buChar char="•"/>
        <a:defRPr sz="3198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467" indent="-228440" algn="l" defTabSz="456879" rtl="0" eaLnBrk="1" fontAlgn="base" hangingPunct="1">
        <a:spcBef>
          <a:spcPct val="0"/>
        </a:spcBef>
        <a:spcAft>
          <a:spcPts val="599"/>
        </a:spcAft>
        <a:buFont typeface="Lucida Grande"/>
        <a:buChar char="-"/>
        <a:defRPr sz="2798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3734" indent="-225267" algn="l" defTabSz="456879" rtl="0" eaLnBrk="1" fontAlgn="base" hangingPunct="1">
        <a:spcBef>
          <a:spcPct val="0"/>
        </a:spcBef>
        <a:spcAft>
          <a:spcPts val="599"/>
        </a:spcAft>
        <a:buFont typeface="Arial" charset="0"/>
        <a:buChar char="•"/>
        <a:defRPr sz="2398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174" indent="-228440" algn="l" defTabSz="456879" rtl="0" eaLnBrk="1" fontAlgn="base" hangingPunct="1">
        <a:spcBef>
          <a:spcPct val="0"/>
        </a:spcBef>
        <a:spcAft>
          <a:spcPts val="599"/>
        </a:spcAft>
        <a:buFont typeface="Lucida Grande"/>
        <a:buChar char="-"/>
        <a:defRPr sz="1998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2200" indent="-230027" algn="l" defTabSz="456879" rtl="0" eaLnBrk="1" fontAlgn="base" hangingPunct="1">
        <a:spcBef>
          <a:spcPct val="0"/>
        </a:spcBef>
        <a:spcAft>
          <a:spcPts val="599"/>
        </a:spcAft>
        <a:buFont typeface="Arial" charset="0"/>
        <a:buChar char="•"/>
        <a:defRPr sz="1998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283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71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59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47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87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76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63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39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28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15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04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6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27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29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0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1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2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3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4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99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7179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4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8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4" y="1089026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7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89933" tIns="46765" rIns="89933" bIns="46765">
            <a:spAutoFit/>
          </a:bodyPr>
          <a:lstStyle/>
          <a:p>
            <a:pPr algn="ctr" defTabSz="761466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999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1038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>
                <a:solidFill>
                  <a:srgbClr val="FFFFFF"/>
                </a:solidFill>
                <a:cs typeface="Arial" pitchFamily="34" charset="0"/>
              </a:rPr>
              <a:t>R 18 </a:t>
            </a:r>
            <a:br>
              <a:rPr lang="en-GB" sz="500" b="1">
                <a:solidFill>
                  <a:srgbClr val="FFFFFF"/>
                </a:solidFill>
                <a:cs typeface="Arial" pitchFamily="34" charset="0"/>
              </a:rPr>
            </a:br>
            <a:r>
              <a:rPr lang="en-GB" sz="500" b="1">
                <a:solidFill>
                  <a:srgbClr val="FFFFFF"/>
                </a:solidFill>
                <a:cs typeface="Arial" pitchFamily="34" charset="0"/>
              </a:rPr>
              <a:t>G 65 </a:t>
            </a:r>
            <a:br>
              <a:rPr lang="en-GB" sz="500" b="1">
                <a:solidFill>
                  <a:srgbClr val="FFFFFF"/>
                </a:solidFill>
                <a:cs typeface="Arial" pitchFamily="34" charset="0"/>
              </a:rPr>
            </a:br>
            <a:r>
              <a:rPr lang="en-GB" sz="500" b="1">
                <a:solidFill>
                  <a:srgbClr val="FFFFFF"/>
                </a:solidFill>
                <a:cs typeface="Arial" pitchFamily="34" charset="0"/>
              </a:rPr>
              <a:t>B 145</a:t>
            </a:r>
          </a:p>
        </p:txBody>
      </p:sp>
      <p:sp>
        <p:nvSpPr>
          <p:cNvPr id="1039" name="AutoShape 58"/>
          <p:cNvSpPr>
            <a:spLocks noChangeArrowheads="1"/>
          </p:cNvSpPr>
          <p:nvPr/>
        </p:nvSpPr>
        <p:spPr bwMode="auto">
          <a:xfrm>
            <a:off x="1835150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>
                <a:solidFill>
                  <a:srgbClr val="FFFFFF"/>
                </a:solidFill>
                <a:cs typeface="Arial" pitchFamily="34" charset="0"/>
              </a:rPr>
              <a:t>R 0 </a:t>
            </a:r>
            <a:br>
              <a:rPr lang="en-GB" sz="500" b="1">
                <a:solidFill>
                  <a:srgbClr val="FFFFFF"/>
                </a:solidFill>
                <a:cs typeface="Arial" pitchFamily="34" charset="0"/>
              </a:rPr>
            </a:br>
            <a:r>
              <a:rPr lang="en-GB" sz="500" b="1">
                <a:solidFill>
                  <a:srgbClr val="FFFFFF"/>
                </a:solidFill>
                <a:cs typeface="Arial" pitchFamily="34" charset="0"/>
              </a:rPr>
              <a:t>G 201 </a:t>
            </a:r>
            <a:br>
              <a:rPr lang="en-GB" sz="500" b="1">
                <a:solidFill>
                  <a:srgbClr val="FFFFFF"/>
                </a:solidFill>
                <a:cs typeface="Arial" pitchFamily="34" charset="0"/>
              </a:rPr>
            </a:br>
            <a:r>
              <a:rPr lang="en-GB" sz="500" b="1">
                <a:solidFill>
                  <a:srgbClr val="FFFFFF"/>
                </a:solidFill>
                <a:cs typeface="Arial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4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7986" tIns="251811" rIns="17986" bIns="0"/>
          <a:lstStyle/>
          <a:p>
            <a:pPr defTabSz="604224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1043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986" tIns="0" rIns="35973" bIns="0" anchor="ctr"/>
          <a:lstStyle/>
          <a:p>
            <a:pPr algn="r"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re and </a:t>
            </a:r>
            <a:r>
              <a:rPr lang="en-GB" sz="500" b="1">
                <a:solidFill>
                  <a:srgbClr val="FFFFFF"/>
                </a:solidFill>
                <a:cs typeface="Arial" pitchFamily="34" charset="0"/>
              </a:rPr>
              <a:t>background</a:t>
            </a:r>
            <a:r>
              <a:rPr lang="en-GB" sz="5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colors:</a:t>
            </a:r>
          </a:p>
        </p:txBody>
      </p:sp>
      <p:sp>
        <p:nvSpPr>
          <p:cNvPr id="1044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45" name="AutoShape 58"/>
          <p:cNvSpPr>
            <a:spLocks noChangeArrowheads="1"/>
          </p:cNvSpPr>
          <p:nvPr/>
        </p:nvSpPr>
        <p:spPr bwMode="auto">
          <a:xfrm>
            <a:off x="1835150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46" name="AutoShape 59"/>
          <p:cNvSpPr>
            <a:spLocks noChangeArrowheads="1"/>
          </p:cNvSpPr>
          <p:nvPr/>
        </p:nvSpPr>
        <p:spPr bwMode="auto">
          <a:xfrm>
            <a:off x="2195514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7986" tIns="251811" rIns="17986" bIns="0"/>
          <a:lstStyle/>
          <a:p>
            <a:pPr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47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986" tIns="0" rIns="35973" bIns="0" anchor="ctr"/>
          <a:lstStyle/>
          <a:p>
            <a:pPr algn="r" defTabSz="602828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799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8/09/2019</a:t>
            </a:fld>
            <a:endParaRPr lang="en-GB" sz="799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5256139-588F-4B68-AE8E-09CCEBBCD258}" type="slidenum">
              <a:rPr lang="en-GB" sz="799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99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7194" name="Picture 1"/>
          <p:cNvPicPr>
            <a:picLocks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959726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1" name="TextBox 2"/>
          <p:cNvSpPr txBox="1">
            <a:spLocks noChangeArrowheads="1"/>
          </p:cNvSpPr>
          <p:nvPr/>
        </p:nvSpPr>
        <p:spPr bwMode="auto">
          <a:xfrm>
            <a:off x="1341439" y="4643439"/>
            <a:ext cx="607853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568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9" dirty="0">
                <a:solidFill>
                  <a:srgbClr val="68717A"/>
                </a:solidFill>
                <a:cs typeface="Arial" pitchFamily="34" charset="0"/>
              </a:rPr>
              <a:t>© Nokia 2017   -   Wireless Vertical Solutions</a:t>
            </a:r>
          </a:p>
        </p:txBody>
      </p:sp>
    </p:spTree>
    <p:extLst>
      <p:ext uri="{BB962C8B-B14F-4D97-AF65-F5344CB8AC3E}">
        <p14:creationId xmlns:p14="http://schemas.microsoft.com/office/powerpoint/2010/main" val="180753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5" r:id="rId1"/>
    <p:sldLayoutId id="2147484556" r:id="rId2"/>
    <p:sldLayoutId id="2147484557" r:id="rId3"/>
    <p:sldLayoutId id="2147484558" r:id="rId4"/>
    <p:sldLayoutId id="2147484559" r:id="rId5"/>
  </p:sldLayoutIdLst>
  <p:hf sldNum="0" hdr="0"/>
  <p:txStyles>
    <p:titleStyle>
      <a:lvl1pPr algn="l" defTabSz="456879" rtl="0" eaLnBrk="0" fontAlgn="base" hangingPunct="0">
        <a:spcBef>
          <a:spcPct val="0"/>
        </a:spcBef>
        <a:spcAft>
          <a:spcPct val="0"/>
        </a:spcAft>
        <a:defRPr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2pPr>
      <a:lvl3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3pPr>
      <a:lvl4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4pPr>
      <a:lvl5pPr algn="l" defTabSz="456879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Nokia Pure Headline Light" pitchFamily="34" charset="0"/>
          <a:ea typeface="ヒラギノ角ゴ Pro W3" charset="0"/>
          <a:cs typeface="Arial" pitchFamily="34" charset="0"/>
        </a:defRPr>
      </a:lvl5pPr>
      <a:lvl6pPr marL="456879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3760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0639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7520" algn="l" defTabSz="45687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027" indent="-230027" algn="l" defTabSz="456879" rtl="0" eaLnBrk="0" fontAlgn="base" hangingPunct="0">
        <a:spcBef>
          <a:spcPct val="0"/>
        </a:spcBef>
        <a:spcAft>
          <a:spcPts val="599"/>
        </a:spcAft>
        <a:buFont typeface="Arial" pitchFamily="34" charset="0"/>
        <a:buChar char="•"/>
        <a:defRPr sz="3198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467" indent="-228440" algn="l" defTabSz="456879" rtl="0" eaLnBrk="0" fontAlgn="base" hangingPunct="0">
        <a:spcBef>
          <a:spcPct val="0"/>
        </a:spcBef>
        <a:spcAft>
          <a:spcPts val="599"/>
        </a:spcAft>
        <a:buFont typeface="Lucida Grande"/>
        <a:buChar char="-"/>
        <a:defRPr sz="27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3734" indent="-225267" algn="l" defTabSz="456879" rtl="0" eaLnBrk="0" fontAlgn="base" hangingPunct="0">
        <a:spcBef>
          <a:spcPct val="0"/>
        </a:spcBef>
        <a:spcAft>
          <a:spcPts val="599"/>
        </a:spcAft>
        <a:buFont typeface="Arial" pitchFamily="34" charset="0"/>
        <a:buChar char="•"/>
        <a:defRPr sz="23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174" indent="-228440" algn="l" defTabSz="456879" rtl="0" eaLnBrk="0" fontAlgn="base" hangingPunct="0">
        <a:spcBef>
          <a:spcPct val="0"/>
        </a:spcBef>
        <a:spcAft>
          <a:spcPts val="599"/>
        </a:spcAft>
        <a:buFont typeface="Lucida Grande"/>
        <a:buChar char="-"/>
        <a:defRPr sz="19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2200" indent="-230027" algn="l" defTabSz="456879" rtl="0" eaLnBrk="0" fontAlgn="base" hangingPunct="0">
        <a:spcBef>
          <a:spcPct val="0"/>
        </a:spcBef>
        <a:spcAft>
          <a:spcPts val="599"/>
        </a:spcAft>
        <a:buFont typeface="Arial" pitchFamily="34" charset="0"/>
        <a:buChar char="•"/>
        <a:defRPr sz="1998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283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71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59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479" indent="-228440" algn="l" defTabSz="456879" rtl="0" eaLnBrk="1" latinLnBrk="0" hangingPunct="1">
        <a:spcBef>
          <a:spcPct val="20000"/>
        </a:spcBef>
        <a:buFont typeface="Arial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87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76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63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39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28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159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040" algn="l" defTabSz="456879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31315"/>
            <a:ext cx="1800000" cy="107722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700" dirty="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  <a:cs typeface="Arial" panose="020B0604020202020204" pitchFamily="34" charset="0"/>
              </a:rPr>
              <a:t>© 2018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31478"/>
            <a:ext cx="144462" cy="107722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700" smtClean="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900" dirty="0">
              <a:solidFill>
                <a:schemeClr val="tx2"/>
              </a:solidFill>
              <a:latin typeface="Arial" panose="020B0604020202020204" pitchFamily="34" charset="0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60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1" r:id="rId1"/>
    <p:sldLayoutId id="2147484562" r:id="rId2"/>
    <p:sldLayoutId id="2147484563" r:id="rId3"/>
    <p:sldLayoutId id="2147484564" r:id="rId4"/>
    <p:sldLayoutId id="2147484565" r:id="rId5"/>
    <p:sldLayoutId id="2147484566" r:id="rId6"/>
    <p:sldLayoutId id="2147484569" r:id="rId7"/>
    <p:sldLayoutId id="2147484570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ea typeface="Nokia Pure Text Light" panose="020B0403020202020204" pitchFamily="34" charset="0"/>
                <a:cs typeface="Arial" charset="0"/>
              </a:rPr>
              <a:t>© Nokia 2017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rgbClr val="001135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930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  <p:sldLayoutId id="2147484583" r:id="rId12"/>
    <p:sldLayoutId id="2147484584" r:id="rId13"/>
    <p:sldLayoutId id="2147484585" r:id="rId14"/>
    <p:sldLayoutId id="2147484586" r:id="rId15"/>
    <p:sldLayoutId id="2147484587" r:id="rId16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4" y="108349"/>
            <a:ext cx="8207375" cy="486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/>
              <a:t>标题文本样式：微软雅黑</a:t>
            </a:r>
            <a:r>
              <a:rPr lang="en-US" altLang="zh-CN"/>
              <a:t>/28</a:t>
            </a:r>
            <a:r>
              <a:rPr lang="zh-CN" altLang="en-US"/>
              <a:t>号  </a:t>
            </a:r>
            <a:r>
              <a:rPr lang="en-US" altLang="zh-CN"/>
              <a:t>Arial/28p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735806"/>
            <a:ext cx="8207375" cy="413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第一级内容文本样式：微软雅黑</a:t>
            </a:r>
            <a:r>
              <a:rPr lang="en-US" altLang="zh-CN"/>
              <a:t>/18</a:t>
            </a:r>
            <a:r>
              <a:rPr lang="zh-CN" altLang="en-US"/>
              <a:t>号  </a:t>
            </a:r>
            <a:r>
              <a:rPr lang="en-US" altLang="zh-CN"/>
              <a:t>Arial/18pt</a:t>
            </a:r>
          </a:p>
          <a:p>
            <a:pPr lvl="1"/>
            <a:r>
              <a:rPr lang="zh-CN" altLang="en-US"/>
              <a:t>第二级内容文本样式：微软雅黑</a:t>
            </a:r>
            <a:r>
              <a:rPr lang="en-US" altLang="zh-CN"/>
              <a:t>/16</a:t>
            </a:r>
            <a:r>
              <a:rPr lang="zh-CN" altLang="en-US"/>
              <a:t>号  </a:t>
            </a:r>
            <a:r>
              <a:rPr lang="en-US" altLang="zh-CN"/>
              <a:t>Arial/16pt</a:t>
            </a:r>
          </a:p>
          <a:p>
            <a:pPr lvl="2"/>
            <a:r>
              <a:rPr lang="zh-CN" altLang="en-US"/>
              <a:t>第三级内容文本样式：微软雅黑</a:t>
            </a:r>
            <a:r>
              <a:rPr lang="en-US" altLang="zh-CN"/>
              <a:t>/14</a:t>
            </a:r>
            <a:r>
              <a:rPr lang="zh-CN" altLang="en-US"/>
              <a:t>号  </a:t>
            </a:r>
            <a:r>
              <a:rPr lang="en-US" altLang="zh-CN"/>
              <a:t>Arial/14pt</a:t>
            </a:r>
          </a:p>
          <a:p>
            <a:pPr lvl="3"/>
            <a:r>
              <a:rPr lang="zh-CN" altLang="en-US"/>
              <a:t>第四级内容文本样式：微软雅黑</a:t>
            </a:r>
            <a:r>
              <a:rPr lang="en-US" altLang="zh-CN"/>
              <a:t>/12</a:t>
            </a:r>
            <a:r>
              <a:rPr lang="zh-CN" altLang="en-US"/>
              <a:t>号  </a:t>
            </a:r>
            <a:r>
              <a:rPr lang="en-US" altLang="zh-CN"/>
              <a:t>Arial/12p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8314" y="4874419"/>
            <a:ext cx="790575" cy="15835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750">
                <a:latin typeface="Arial" panose="020B0604020202020204" pitchFamily="34" charset="0"/>
                <a:ea typeface="黑体" panose="02010609060101010101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第 </a:t>
            </a:r>
            <a:fld id="{E92F5010-65D4-4A93-B706-44FF5BC09A4F}" type="slidenum">
              <a:rPr lang="zh-CN" altLang="en-US">
                <a:solidFill>
                  <a:srgbClr val="000000"/>
                </a:solidFill>
              </a:rPr>
              <a:t>‹#›</a:t>
            </a:fld>
            <a:r>
              <a:rPr lang="zh-CN" altLang="en-US">
                <a:solidFill>
                  <a:srgbClr val="000000"/>
                </a:solidFill>
              </a:rPr>
              <a:t> 页</a:t>
            </a:r>
          </a:p>
        </p:txBody>
      </p:sp>
      <p:pic>
        <p:nvPicPr>
          <p:cNvPr id="1029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1" t="1717" r="74190" b="70428"/>
          <a:stretch>
            <a:fillRect/>
          </a:stretch>
        </p:blipFill>
        <p:spPr bwMode="auto">
          <a:xfrm>
            <a:off x="7786689" y="3964782"/>
            <a:ext cx="1357312" cy="117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直接连接符 8"/>
          <p:cNvCxnSpPr>
            <a:cxnSpLocks noChangeShapeType="1"/>
          </p:cNvCxnSpPr>
          <p:nvPr/>
        </p:nvCxnSpPr>
        <p:spPr bwMode="auto">
          <a:xfrm>
            <a:off x="0" y="716756"/>
            <a:ext cx="91440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8" name="Text Box 40"/>
          <p:cNvSpPr txBox="1">
            <a:spLocks noChangeArrowheads="1"/>
          </p:cNvSpPr>
          <p:nvPr/>
        </p:nvSpPr>
        <p:spPr bwMode="auto">
          <a:xfrm>
            <a:off x="9529763" y="4552950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50,190,0</a:t>
            </a:r>
          </a:p>
        </p:txBody>
      </p:sp>
      <p:sp>
        <p:nvSpPr>
          <p:cNvPr id="1033" name="Rectangle 41"/>
          <p:cNvSpPr>
            <a:spLocks noChangeArrowheads="1"/>
          </p:cNvSpPr>
          <p:nvPr/>
        </p:nvSpPr>
        <p:spPr bwMode="auto">
          <a:xfrm>
            <a:off x="9242426" y="4508875"/>
            <a:ext cx="360363" cy="300082"/>
          </a:xfrm>
          <a:prstGeom prst="rect">
            <a:avLst/>
          </a:prstGeom>
          <a:solidFill>
            <a:srgbClr val="FABE0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034" name="Rectangle 42"/>
          <p:cNvSpPr>
            <a:spLocks noChangeArrowheads="1"/>
          </p:cNvSpPr>
          <p:nvPr/>
        </p:nvSpPr>
        <p:spPr bwMode="auto">
          <a:xfrm>
            <a:off x="9242426" y="4737475"/>
            <a:ext cx="360363" cy="300082"/>
          </a:xfrm>
          <a:prstGeom prst="rect">
            <a:avLst/>
          </a:prstGeom>
          <a:solidFill>
            <a:srgbClr val="A0A0A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2" name="Text Box 43"/>
          <p:cNvSpPr txBox="1">
            <a:spLocks noChangeArrowheads="1"/>
          </p:cNvSpPr>
          <p:nvPr/>
        </p:nvSpPr>
        <p:spPr bwMode="auto">
          <a:xfrm>
            <a:off x="9529763" y="4782742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160,160,160</a:t>
            </a:r>
          </a:p>
        </p:txBody>
      </p:sp>
      <p:sp>
        <p:nvSpPr>
          <p:cNvPr id="1036" name="Rectangle 44"/>
          <p:cNvSpPr>
            <a:spLocks noChangeArrowheads="1"/>
          </p:cNvSpPr>
          <p:nvPr/>
        </p:nvSpPr>
        <p:spPr bwMode="auto">
          <a:xfrm>
            <a:off x="9242426" y="3130131"/>
            <a:ext cx="360363" cy="300082"/>
          </a:xfrm>
          <a:prstGeom prst="rect">
            <a:avLst/>
          </a:prstGeom>
          <a:solidFill>
            <a:srgbClr val="ECE5CE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037" name="Rectangle 45"/>
          <p:cNvSpPr>
            <a:spLocks noChangeArrowheads="1"/>
          </p:cNvSpPr>
          <p:nvPr/>
        </p:nvSpPr>
        <p:spPr bwMode="auto">
          <a:xfrm>
            <a:off x="9242426" y="3351588"/>
            <a:ext cx="360363" cy="300082"/>
          </a:xfrm>
          <a:prstGeom prst="rect">
            <a:avLst/>
          </a:prstGeom>
          <a:solidFill>
            <a:srgbClr val="F1D4AF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038" name="Rectangle 46"/>
          <p:cNvSpPr>
            <a:spLocks noChangeArrowheads="1"/>
          </p:cNvSpPr>
          <p:nvPr/>
        </p:nvSpPr>
        <p:spPr bwMode="auto">
          <a:xfrm>
            <a:off x="9242426" y="3573044"/>
            <a:ext cx="360363" cy="300082"/>
          </a:xfrm>
          <a:prstGeom prst="rect">
            <a:avLst/>
          </a:prstGeom>
          <a:solidFill>
            <a:srgbClr val="E08E79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6" name="Text Box 47"/>
          <p:cNvSpPr txBox="1">
            <a:spLocks noChangeArrowheads="1"/>
          </p:cNvSpPr>
          <p:nvPr/>
        </p:nvSpPr>
        <p:spPr bwMode="auto">
          <a:xfrm>
            <a:off x="9529763" y="3175398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36,229,206</a:t>
            </a:r>
          </a:p>
        </p:txBody>
      </p:sp>
      <p:sp>
        <p:nvSpPr>
          <p:cNvPr id="17" name="Text Box 48"/>
          <p:cNvSpPr txBox="1">
            <a:spLocks noChangeArrowheads="1"/>
          </p:cNvSpPr>
          <p:nvPr/>
        </p:nvSpPr>
        <p:spPr bwMode="auto">
          <a:xfrm>
            <a:off x="9529763" y="3398044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41,212,175</a:t>
            </a:r>
          </a:p>
        </p:txBody>
      </p:sp>
      <p:sp>
        <p:nvSpPr>
          <p:cNvPr id="18" name="Text Box 49"/>
          <p:cNvSpPr txBox="1">
            <a:spLocks noChangeArrowheads="1"/>
          </p:cNvSpPr>
          <p:nvPr/>
        </p:nvSpPr>
        <p:spPr bwMode="auto">
          <a:xfrm>
            <a:off x="9529763" y="3620692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24,142,121</a:t>
            </a:r>
          </a:p>
        </p:txBody>
      </p:sp>
      <p:sp>
        <p:nvSpPr>
          <p:cNvPr id="1042" name="Rectangle 50"/>
          <p:cNvSpPr>
            <a:spLocks noChangeArrowheads="1"/>
          </p:cNvSpPr>
          <p:nvPr/>
        </p:nvSpPr>
        <p:spPr bwMode="auto">
          <a:xfrm>
            <a:off x="9242426" y="3796881"/>
            <a:ext cx="360363" cy="300082"/>
          </a:xfrm>
          <a:prstGeom prst="rect">
            <a:avLst/>
          </a:prstGeom>
          <a:solidFill>
            <a:srgbClr val="CC000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20" name="Text Box 51"/>
          <p:cNvSpPr txBox="1">
            <a:spLocks noChangeArrowheads="1"/>
          </p:cNvSpPr>
          <p:nvPr/>
        </p:nvSpPr>
        <p:spPr bwMode="auto">
          <a:xfrm>
            <a:off x="9531350" y="384452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04,0,0</a:t>
            </a:r>
          </a:p>
        </p:txBody>
      </p:sp>
      <p:sp>
        <p:nvSpPr>
          <p:cNvPr id="21" name="Text Box 52"/>
          <p:cNvSpPr txBox="1">
            <a:spLocks noChangeArrowheads="1"/>
          </p:cNvSpPr>
          <p:nvPr/>
        </p:nvSpPr>
        <p:spPr bwMode="auto">
          <a:xfrm>
            <a:off x="9531350" y="4324350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15,75,105</a:t>
            </a:r>
          </a:p>
        </p:txBody>
      </p:sp>
      <p:sp>
        <p:nvSpPr>
          <p:cNvPr id="1045" name="Rectangle 53"/>
          <p:cNvSpPr>
            <a:spLocks noChangeArrowheads="1"/>
          </p:cNvSpPr>
          <p:nvPr/>
        </p:nvSpPr>
        <p:spPr bwMode="auto">
          <a:xfrm>
            <a:off x="9242426" y="4280275"/>
            <a:ext cx="360363" cy="300082"/>
          </a:xfrm>
          <a:prstGeom prst="rect">
            <a:avLst/>
          </a:prstGeom>
          <a:solidFill>
            <a:srgbClr val="0F4B96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23" name="Text Box 54"/>
          <p:cNvSpPr txBox="1">
            <a:spLocks noChangeArrowheads="1"/>
          </p:cNvSpPr>
          <p:nvPr/>
        </p:nvSpPr>
        <p:spPr bwMode="auto">
          <a:xfrm>
            <a:off x="9286876" y="295036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zh-CN" altLang="en-US" sz="900">
                <a:solidFill>
                  <a:srgbClr val="FFFFFF"/>
                </a:solidFill>
                <a:ea typeface="宋体" panose="02010600030101010101" pitchFamily="2" charset="-122"/>
              </a:rPr>
              <a:t>主色系</a:t>
            </a:r>
          </a:p>
        </p:txBody>
      </p:sp>
      <p:sp>
        <p:nvSpPr>
          <p:cNvPr id="24" name="Text Box 55"/>
          <p:cNvSpPr txBox="1">
            <a:spLocks noChangeArrowheads="1"/>
          </p:cNvSpPr>
          <p:nvPr/>
        </p:nvSpPr>
        <p:spPr bwMode="auto">
          <a:xfrm>
            <a:off x="9290051" y="409336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kumimoji="0" lang="zh-CN" altLang="en-US" sz="900">
                <a:solidFill>
                  <a:srgbClr val="FFFFFF"/>
                </a:solidFill>
                <a:ea typeface="宋体" panose="02010600030101010101" pitchFamily="2" charset="-122"/>
              </a:rPr>
              <a:t>辅色系</a:t>
            </a:r>
          </a:p>
        </p:txBody>
      </p:sp>
      <p:sp>
        <p:nvSpPr>
          <p:cNvPr id="1048" name="Rectangle 44"/>
          <p:cNvSpPr>
            <a:spLocks noChangeArrowheads="1"/>
          </p:cNvSpPr>
          <p:nvPr/>
        </p:nvSpPr>
        <p:spPr bwMode="auto">
          <a:xfrm>
            <a:off x="9242426" y="2427663"/>
            <a:ext cx="360363" cy="300082"/>
          </a:xfrm>
          <a:prstGeom prst="rect">
            <a:avLst/>
          </a:prstGeom>
          <a:solidFill>
            <a:srgbClr val="FFFFFF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1049" name="Rectangle 45"/>
          <p:cNvSpPr>
            <a:spLocks noChangeArrowheads="1"/>
          </p:cNvSpPr>
          <p:nvPr/>
        </p:nvSpPr>
        <p:spPr bwMode="auto">
          <a:xfrm>
            <a:off x="9242426" y="2649119"/>
            <a:ext cx="360363" cy="300082"/>
          </a:xfrm>
          <a:prstGeom prst="rect">
            <a:avLst/>
          </a:prstGeom>
          <a:solidFill>
            <a:srgbClr val="000000"/>
          </a:solidFill>
          <a:ln w="12700">
            <a:solidFill>
              <a:schemeClr val="bg1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/>
            <a:endParaRPr lang="zh-CN" altLang="en-US" sz="1350">
              <a:solidFill>
                <a:srgbClr val="000000"/>
              </a:solidFill>
            </a:endParaRPr>
          </a:p>
        </p:txBody>
      </p:sp>
      <p:sp>
        <p:nvSpPr>
          <p:cNvPr id="27" name="Text Box 47"/>
          <p:cNvSpPr txBox="1">
            <a:spLocks noChangeArrowheads="1"/>
          </p:cNvSpPr>
          <p:nvPr/>
        </p:nvSpPr>
        <p:spPr bwMode="auto">
          <a:xfrm>
            <a:off x="9540875" y="2472929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000,000,000</a:t>
            </a:r>
          </a:p>
        </p:txBody>
      </p:sp>
      <p:sp>
        <p:nvSpPr>
          <p:cNvPr id="28" name="Text Box 48"/>
          <p:cNvSpPr txBox="1">
            <a:spLocks noChangeArrowheads="1"/>
          </p:cNvSpPr>
          <p:nvPr/>
        </p:nvSpPr>
        <p:spPr bwMode="auto">
          <a:xfrm>
            <a:off x="9540875" y="2695576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900" dirty="0">
                <a:solidFill>
                  <a:srgbClr val="FFFFFF"/>
                </a:solidFill>
                <a:ea typeface="宋体" panose="02010600030101010101" pitchFamily="2" charset="-122"/>
              </a:rPr>
              <a:t>255,255,255</a:t>
            </a:r>
          </a:p>
        </p:txBody>
      </p:sp>
      <p:sp>
        <p:nvSpPr>
          <p:cNvPr id="29" name="Text Box 54"/>
          <p:cNvSpPr txBox="1">
            <a:spLocks noChangeArrowheads="1"/>
          </p:cNvSpPr>
          <p:nvPr/>
        </p:nvSpPr>
        <p:spPr bwMode="auto">
          <a:xfrm>
            <a:off x="9297989" y="2247900"/>
            <a:ext cx="1152525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zh-CN" altLang="en-US" sz="900" dirty="0">
                <a:solidFill>
                  <a:srgbClr val="FFFFFF"/>
                </a:solidFill>
                <a:ea typeface="宋体" panose="02010600030101010101" pitchFamily="2" charset="-122"/>
              </a:rPr>
              <a:t>文字</a:t>
            </a:r>
          </a:p>
        </p:txBody>
      </p:sp>
      <p:sp>
        <p:nvSpPr>
          <p:cNvPr id="1054" name="Rectangle 21"/>
          <p:cNvSpPr>
            <a:spLocks noChangeArrowheads="1"/>
          </p:cNvSpPr>
          <p:nvPr/>
        </p:nvSpPr>
        <p:spPr bwMode="auto">
          <a:xfrm rot="-2693242">
            <a:off x="8264525" y="4732916"/>
            <a:ext cx="1055688" cy="297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5822" tIns="32909" rIns="65822" bIns="32909">
            <a:spAutoFit/>
          </a:bodyPr>
          <a:lstStyle>
            <a:lvl1pPr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defTabSz="87757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defTabSz="87757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algn="ctr"/>
            <a:r>
              <a:rPr lang="en-US" altLang="zh-CN" sz="750" dirty="0" err="1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hinaUnicom</a:t>
            </a:r>
            <a:r>
              <a:rPr lang="en-US" altLang="zh-CN" sz="750" dirty="0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altLang="zh-CN" sz="750" dirty="0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onfidential </a:t>
            </a:r>
          </a:p>
        </p:txBody>
      </p:sp>
    </p:spTree>
    <p:extLst>
      <p:ext uri="{BB962C8B-B14F-4D97-AF65-F5344CB8AC3E}">
        <p14:creationId xmlns:p14="http://schemas.microsoft.com/office/powerpoint/2010/main" val="3020959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0" r:id="rId1"/>
    <p:sldLayoutId id="2147484591" r:id="rId2"/>
    <p:sldLayoutId id="2147484592" r:id="rId3"/>
    <p:sldLayoutId id="2147484593" r:id="rId4"/>
    <p:sldLayoutId id="2147484594" r:id="rId5"/>
    <p:sldLayoutId id="2147484595" r:id="rId6"/>
    <p:sldLayoutId id="2147484596" r:id="rId7"/>
    <p:sldLayoutId id="2147484597" r:id="rId8"/>
    <p:sldLayoutId id="2147484598" r:id="rId9"/>
    <p:sldLayoutId id="2147484599" r:id="rId10"/>
    <p:sldLayoutId id="2147484600" r:id="rId11"/>
    <p:sldLayoutId id="2147484601" r:id="rId12"/>
    <p:sldLayoutId id="2147484602" r:id="rId13"/>
    <p:sldLayoutId id="2147484603" r:id="rId14"/>
    <p:sldLayoutId id="2147484604" r:id="rId15"/>
    <p:sldLayoutId id="2147484605" r:id="rId16"/>
    <p:sldLayoutId id="2147484607" r:id="rId17"/>
  </p:sldLayoutIdLst>
  <p:transition>
    <p:fade/>
  </p:transition>
  <p:hf sldNum="0" hdr="0" ftr="0" dt="0"/>
  <p:txStyles>
    <p:titleStyle>
      <a:lvl1pPr marL="271463" indent="-271463"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  <a:lvl2pPr marL="271463" indent="-271463"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2pPr>
      <a:lvl3pPr marL="271463" indent="-271463"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3pPr>
      <a:lvl4pPr marL="271463" indent="-271463"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4pPr>
      <a:lvl5pPr marL="271463" indent="-271463"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5pPr>
      <a:lvl6pPr marL="614363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6pPr>
      <a:lvl7pPr marL="957263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7pPr>
      <a:lvl8pPr marL="1300163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8pPr>
      <a:lvl9pPr marL="1643063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9pPr>
    </p:titleStyle>
    <p:bodyStyle>
      <a:lvl1pPr marL="135731" indent="-135731" algn="l" rtl="0" eaLnBrk="0" fontAlgn="ctr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b="1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  <a:lvl2pPr marL="406241" indent="-135731" algn="l" rtl="0" eaLnBrk="0" fontAlgn="ctr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kumimoji="1" sz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2pPr>
      <a:lvl3pPr marL="671513" indent="-130969" algn="l" rtl="0" eaLnBrk="0" fontAlgn="ctr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kumimoji="1" sz="105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3pPr>
      <a:lvl4pPr marL="942023" indent="-135731" algn="l" rtl="0" eaLnBrk="0" fontAlgn="ctr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kumimoji="1" sz="9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4pPr>
      <a:lvl5pPr marL="1214438" indent="-138113" algn="l" rtl="0" eaLnBrk="0" fontAlgn="ctr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kumimoji="1" sz="750">
          <a:solidFill>
            <a:schemeClr val="tx1"/>
          </a:solidFill>
          <a:latin typeface="+mj-lt"/>
          <a:ea typeface="华文细黑" panose="02010600040101010101" pitchFamily="2" charset="-122"/>
          <a:cs typeface="华文细黑" panose="02010600040101010101" pitchFamily="2" charset="-122"/>
        </a:defRPr>
      </a:lvl5pPr>
      <a:lvl6pPr marL="1557338" indent="-138113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750">
          <a:solidFill>
            <a:schemeClr val="tx1"/>
          </a:solidFill>
          <a:latin typeface="+mj-lt"/>
          <a:ea typeface="华文细黑" panose="02010600040101010101" pitchFamily="2" charset="-122"/>
        </a:defRPr>
      </a:lvl6pPr>
      <a:lvl7pPr marL="1900238" indent="-138113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750">
          <a:solidFill>
            <a:schemeClr val="tx1"/>
          </a:solidFill>
          <a:latin typeface="+mj-lt"/>
          <a:ea typeface="华文细黑" panose="02010600040101010101" pitchFamily="2" charset="-122"/>
        </a:defRPr>
      </a:lvl7pPr>
      <a:lvl8pPr marL="2243138" indent="-138113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750">
          <a:solidFill>
            <a:schemeClr val="tx1"/>
          </a:solidFill>
          <a:latin typeface="+mj-lt"/>
          <a:ea typeface="华文细黑" panose="02010600040101010101" pitchFamily="2" charset="-122"/>
        </a:defRPr>
      </a:lvl8pPr>
      <a:lvl9pPr marL="2586038" indent="-138113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750">
          <a:solidFill>
            <a:schemeClr val="tx1"/>
          </a:solidFill>
          <a:latin typeface="+mj-lt"/>
          <a:ea typeface="华文细黑" panose="02010600040101010101" pitchFamily="2" charset="-122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27039" y="4914900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938D3E90-B2F3-40B9-A6F7-FA35FB0B43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752522" y="4694463"/>
            <a:ext cx="1391478" cy="36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723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1" r:id="rId1"/>
    <p:sldLayoutId id="2147484612" r:id="rId2"/>
    <p:sldLayoutId id="2147484613" r:id="rId3"/>
    <p:sldLayoutId id="2147484614" r:id="rId4"/>
    <p:sldLayoutId id="2147484617" r:id="rId5"/>
    <p:sldLayoutId id="2147484618" r:id="rId6"/>
    <p:sldLayoutId id="2147484620" r:id="rId7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991" y="197684"/>
            <a:ext cx="6542353" cy="371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8298" tIns="39146" rIns="78298" bIns="3914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9397" y="1091307"/>
            <a:ext cx="1910472" cy="3384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8298" tIns="39146" rIns="78298" bIns="39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0611" y="4839988"/>
            <a:ext cx="2131245" cy="20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0257" tIns="35124" rIns="70257" bIns="35124" numCol="1" anchor="t" anchorCtr="0" compatLnSpc="1">
            <a:prstTxWarp prst="textNoShape">
              <a:avLst/>
            </a:prstTxWarp>
          </a:bodyPr>
          <a:lstStyle>
            <a:lvl1pPr algn="r">
              <a:defRPr kumimoji="0" sz="800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</a:lstStyle>
          <a:p>
            <a:pPr>
              <a:defRPr/>
            </a:pPr>
            <a:fld id="{F36CBE87-8C50-4E46-B150-3FC4633502D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517614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  <p:sldLayoutId id="2147484628" r:id="rId7"/>
    <p:sldLayoutId id="2147484630" r:id="rId8"/>
    <p:sldLayoutId id="2147484631" r:id="rId9"/>
  </p:sldLayoutIdLst>
  <p:transition/>
  <p:hf hdr="0" ftr="0" dt="0"/>
  <p:txStyles>
    <p:titleStyle>
      <a:lvl1pPr algn="l" defTabSz="78267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8267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2pPr>
      <a:lvl3pPr algn="l" defTabSz="78267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3pPr>
      <a:lvl4pPr algn="l" defTabSz="78267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4pPr>
      <a:lvl5pPr algn="l" defTabSz="78267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5pPr>
      <a:lvl6pPr marL="352100" algn="l" defTabSz="784871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6pPr>
      <a:lvl7pPr marL="704183" algn="l" defTabSz="784871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7pPr>
      <a:lvl8pPr marL="1056275" algn="l" defTabSz="784871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8pPr>
      <a:lvl9pPr marL="1408362" algn="l" defTabSz="784871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9pPr>
    </p:titleStyle>
    <p:bodyStyle>
      <a:lvl1pPr marL="133301" indent="-133301" algn="just" defTabSz="782672" rtl="0" eaLnBrk="1" fontAlgn="base" hangingPunct="1">
        <a:lnSpc>
          <a:spcPct val="110000"/>
        </a:lnSpc>
        <a:spcBef>
          <a:spcPct val="40000"/>
        </a:spcBef>
        <a:spcAft>
          <a:spcPct val="0"/>
        </a:spcAft>
        <a:buSzPct val="80000"/>
        <a:buFont typeface="Wingdings" pitchFamily="2" charset="2"/>
        <a:buChar char="n"/>
        <a:defRPr sz="1499">
          <a:solidFill>
            <a:schemeClr val="tx1"/>
          </a:solidFill>
          <a:latin typeface="+mn-lt"/>
          <a:ea typeface="+mn-ea"/>
          <a:cs typeface="+mn-cs"/>
        </a:defRPr>
      </a:lvl1pPr>
      <a:lvl2pPr marL="406016" indent="-132078" algn="just" defTabSz="782672" rtl="0" eaLnBrk="1" fontAlgn="base" hangingPunct="1">
        <a:lnSpc>
          <a:spcPct val="110000"/>
        </a:lnSpc>
        <a:spcBef>
          <a:spcPct val="40000"/>
        </a:spcBef>
        <a:spcAft>
          <a:spcPct val="0"/>
        </a:spcAft>
        <a:buSzPct val="80000"/>
        <a:buFont typeface="Arial" charset="0"/>
        <a:buChar char="–"/>
        <a:defRPr sz="1499">
          <a:solidFill>
            <a:schemeClr val="tx1"/>
          </a:solidFill>
          <a:latin typeface="+mn-lt"/>
          <a:ea typeface="+mn-ea"/>
        </a:defRPr>
      </a:lvl2pPr>
      <a:lvl3pPr marL="988134" indent="-193226" algn="l" defTabSz="782672" rtl="0" eaLnBrk="1" fontAlgn="base" hangingPunct="1">
        <a:spcBef>
          <a:spcPct val="20000"/>
        </a:spcBef>
        <a:spcAft>
          <a:spcPct val="0"/>
        </a:spcAft>
        <a:buChar char="•"/>
        <a:defRPr sz="2198">
          <a:solidFill>
            <a:schemeClr val="tx1"/>
          </a:solidFill>
          <a:latin typeface="+mn-lt"/>
          <a:ea typeface="楷体_GB2312" pitchFamily="49" charset="-122"/>
        </a:defRPr>
      </a:lvl3pPr>
      <a:lvl4pPr marL="1321985" indent="-193226" algn="l" defTabSz="782672" rtl="0" eaLnBrk="1" fontAlgn="base" hangingPunct="1">
        <a:spcBef>
          <a:spcPct val="20000"/>
        </a:spcBef>
        <a:spcAft>
          <a:spcPct val="0"/>
        </a:spcAft>
        <a:buChar char="–"/>
        <a:defRPr sz="1699">
          <a:solidFill>
            <a:schemeClr val="tx1"/>
          </a:solidFill>
          <a:latin typeface="+mn-lt"/>
          <a:ea typeface="楷体_GB2312" pitchFamily="49" charset="-122"/>
        </a:defRPr>
      </a:lvl4pPr>
      <a:lvl5pPr marL="1655847" indent="-193226" algn="l" defTabSz="782672" rtl="0" eaLnBrk="1" fontAlgn="base" hangingPunct="1">
        <a:spcBef>
          <a:spcPct val="20000"/>
        </a:spcBef>
        <a:spcAft>
          <a:spcPct val="0"/>
        </a:spcAft>
        <a:buChar char="»"/>
        <a:defRPr sz="1699">
          <a:solidFill>
            <a:schemeClr val="tx1"/>
          </a:solidFill>
          <a:latin typeface="+mn-lt"/>
          <a:ea typeface="楷体_GB2312" pitchFamily="49" charset="-122"/>
        </a:defRPr>
      </a:lvl5pPr>
      <a:lvl6pPr marL="2009847" indent="-195605" algn="l" defTabSz="784871" rtl="0" eaLnBrk="1" fontAlgn="base" hangingPunct="1">
        <a:spcBef>
          <a:spcPct val="20000"/>
        </a:spcBef>
        <a:spcAft>
          <a:spcPct val="0"/>
        </a:spcAft>
        <a:buChar char="»"/>
        <a:defRPr sz="1699">
          <a:solidFill>
            <a:schemeClr val="tx1"/>
          </a:solidFill>
          <a:latin typeface="+mn-lt"/>
          <a:ea typeface="宋体" pitchFamily="2" charset="-122"/>
        </a:defRPr>
      </a:lvl6pPr>
      <a:lvl7pPr marL="2361935" indent="-195605" algn="l" defTabSz="784871" rtl="0" eaLnBrk="1" fontAlgn="base" hangingPunct="1">
        <a:spcBef>
          <a:spcPct val="20000"/>
        </a:spcBef>
        <a:spcAft>
          <a:spcPct val="0"/>
        </a:spcAft>
        <a:buChar char="»"/>
        <a:defRPr sz="1699">
          <a:solidFill>
            <a:schemeClr val="tx1"/>
          </a:solidFill>
          <a:latin typeface="+mn-lt"/>
          <a:ea typeface="宋体" pitchFamily="2" charset="-122"/>
        </a:defRPr>
      </a:lvl7pPr>
      <a:lvl8pPr marL="2714030" indent="-195605" algn="l" defTabSz="784871" rtl="0" eaLnBrk="1" fontAlgn="base" hangingPunct="1">
        <a:spcBef>
          <a:spcPct val="20000"/>
        </a:spcBef>
        <a:spcAft>
          <a:spcPct val="0"/>
        </a:spcAft>
        <a:buChar char="»"/>
        <a:defRPr sz="1699">
          <a:solidFill>
            <a:schemeClr val="tx1"/>
          </a:solidFill>
          <a:latin typeface="+mn-lt"/>
          <a:ea typeface="宋体" pitchFamily="2" charset="-122"/>
        </a:defRPr>
      </a:lvl8pPr>
      <a:lvl9pPr marL="3066120" indent="-195605" algn="l" defTabSz="784871" rtl="0" eaLnBrk="1" fontAlgn="base" hangingPunct="1">
        <a:spcBef>
          <a:spcPct val="20000"/>
        </a:spcBef>
        <a:spcAft>
          <a:spcPct val="0"/>
        </a:spcAft>
        <a:buChar char="»"/>
        <a:defRPr sz="1699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1pPr>
      <a:lvl2pPr marL="352100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2pPr>
      <a:lvl3pPr marL="704183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3pPr>
      <a:lvl4pPr marL="1056275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4pPr>
      <a:lvl5pPr marL="1408362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5pPr>
      <a:lvl6pPr marL="1760454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6pPr>
      <a:lvl7pPr marL="2112544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7pPr>
      <a:lvl8pPr marL="2464635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8pPr>
      <a:lvl9pPr marL="2816726" algn="l" defTabSz="704183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6901716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6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1981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+mn-l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1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32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6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9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1" y="5208589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9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32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1" y="5208589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35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6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Line 15"/>
          <p:cNvSpPr>
            <a:spLocks noChangeShapeType="1"/>
          </p:cNvSpPr>
          <p:nvPr userDrawn="1"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sz="1800" dirty="0">
              <a:latin typeface="Arial" pitchFamily="34" charset="0"/>
            </a:endParaRPr>
          </a:p>
        </p:txBody>
      </p:sp>
      <p:sp>
        <p:nvSpPr>
          <p:cNvPr id="32" name="TextBox 31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914378"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001135"/>
                </a:solidFill>
                <a:latin typeface="Nokia Pure Text"/>
                <a:ea typeface="Nokia Pure Text Light" panose="020B0403020202020204" pitchFamily="34" charset="0"/>
                <a:cs typeface="Arial" charset="0"/>
              </a:rPr>
              <a:t>© 2017 Nokia</a:t>
            </a:r>
          </a:p>
        </p:txBody>
      </p:sp>
      <p:sp>
        <p:nvSpPr>
          <p:cNvPr id="33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latin typeface="Nokia Pure Text"/>
                <a:ea typeface="Nokia Pure Text Light" panose="020B0403020202020204" pitchFamily="34" charset="0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000" dirty="0">
              <a:solidFill>
                <a:srgbClr val="001135"/>
              </a:solidFill>
              <a:latin typeface="Nokia Pure Tex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Footer Placeholder 27"/>
          <p:cNvSpPr txBox="1">
            <a:spLocks/>
          </p:cNvSpPr>
          <p:nvPr userDrawn="1"/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2"/>
                </a:solidFill>
                <a:latin typeface="+mn-lt"/>
                <a:ea typeface="ヒラギノ角ゴ Pro W3"/>
                <a:cs typeface="ヒラギノ角ゴ Pro W3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9pPr>
          </a:lstStyle>
          <a:p>
            <a:pPr defTabSz="91437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1135"/>
                </a:solidFill>
                <a:latin typeface="Nokia Pure Text"/>
                <a:ea typeface="+mn-ea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41331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3" r:id="rId1"/>
    <p:sldLayoutId id="2147484634" r:id="rId2"/>
    <p:sldLayoutId id="2147484635" r:id="rId3"/>
    <p:sldLayoutId id="2147484636" r:id="rId4"/>
    <p:sldLayoutId id="2147484637" r:id="rId5"/>
    <p:sldLayoutId id="2147484638" r:id="rId6"/>
    <p:sldLayoutId id="2147484640" r:id="rId7"/>
  </p:sldLayoutIdLst>
  <p:hf sldNum="0" hdr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755776" y="4816697"/>
            <a:ext cx="1800000" cy="12234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795" dirty="0">
                <a:solidFill>
                  <a:srgbClr val="000000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26" name="Slide Number Placeholder 5"/>
          <p:cNvSpPr txBox="1">
            <a:spLocks/>
          </p:cNvSpPr>
          <p:nvPr userDrawn="1"/>
        </p:nvSpPr>
        <p:spPr>
          <a:xfrm>
            <a:off x="419102" y="4816860"/>
            <a:ext cx="252000" cy="12234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795" smtClean="0">
                <a:solidFill>
                  <a:srgbClr val="000000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994">
              <a:solidFill>
                <a:srgbClr val="000000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27" name="Picture 6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8344" y="4719251"/>
            <a:ext cx="1204318" cy="31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921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60" r:id="rId5"/>
    <p:sldLayoutId id="2147484661" r:id="rId6"/>
    <p:sldLayoutId id="2147484668" r:id="rId7"/>
    <p:sldLayoutId id="2147484884" r:id="rId8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457189"/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0" name="Rechteck 9">
            <a:hlinkClick r:id="" action="ppaction://hlinkshowjump?jump=previousslide"/>
          </p:cNvPr>
          <p:cNvSpPr/>
          <p:nvPr userDrawn="1"/>
        </p:nvSpPr>
        <p:spPr>
          <a:xfrm>
            <a:off x="1" y="2482609"/>
            <a:ext cx="433387" cy="28623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08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1" name="Rechteck 10">
            <a:hlinkClick r:id="" action="ppaction://hlinkshowjump?jump=nextslide"/>
          </p:cNvPr>
          <p:cNvSpPr/>
          <p:nvPr userDrawn="1"/>
        </p:nvSpPr>
        <p:spPr>
          <a:xfrm>
            <a:off x="8712201" y="2482609"/>
            <a:ext cx="431800" cy="28623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08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419102" y="48268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657000" y="48267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7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179388" y="-147638"/>
            <a:ext cx="9503900" cy="5464226"/>
            <a:chOff x="-179388" y="-147638"/>
            <a:chExt cx="9503900" cy="5464226"/>
          </a:xfrm>
        </p:grpSpPr>
        <p:sp>
          <p:nvSpPr>
            <p:cNvPr id="13" name="Line 9"/>
            <p:cNvSpPr>
              <a:spLocks noChangeShapeType="1"/>
            </p:cNvSpPr>
            <p:nvPr/>
          </p:nvSpPr>
          <p:spPr bwMode="auto">
            <a:xfrm flipV="1">
              <a:off x="-179388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15" name="Line 12"/>
            <p:cNvSpPr>
              <a:spLocks noChangeShapeType="1"/>
            </p:cNvSpPr>
            <p:nvPr/>
          </p:nvSpPr>
          <p:spPr bwMode="auto">
            <a:xfrm flipV="1">
              <a:off x="-179388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0" name="Line 9"/>
            <p:cNvSpPr>
              <a:spLocks noChangeShapeType="1"/>
            </p:cNvSpPr>
            <p:nvPr/>
          </p:nvSpPr>
          <p:spPr bwMode="auto">
            <a:xfrm flipV="1">
              <a:off x="-179388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1" name="Line 10"/>
            <p:cNvSpPr>
              <a:spLocks noChangeShapeType="1"/>
            </p:cNvSpPr>
            <p:nvPr/>
          </p:nvSpPr>
          <p:spPr bwMode="auto">
            <a:xfrm flipH="1">
              <a:off x="-179388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2" name="Line 12"/>
            <p:cNvSpPr>
              <a:spLocks noChangeShapeType="1"/>
            </p:cNvSpPr>
            <p:nvPr/>
          </p:nvSpPr>
          <p:spPr bwMode="auto">
            <a:xfrm flipV="1">
              <a:off x="-179388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3" name="Line 13"/>
            <p:cNvSpPr>
              <a:spLocks noChangeShapeType="1"/>
            </p:cNvSpPr>
            <p:nvPr/>
          </p:nvSpPr>
          <p:spPr bwMode="auto">
            <a:xfrm flipH="1" flipV="1">
              <a:off x="-179388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4" name="Line 14"/>
            <p:cNvSpPr>
              <a:spLocks noChangeShapeType="1"/>
            </p:cNvSpPr>
            <p:nvPr/>
          </p:nvSpPr>
          <p:spPr bwMode="auto">
            <a:xfrm>
              <a:off x="-179388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5" name="Line 15"/>
            <p:cNvSpPr>
              <a:spLocks noChangeShapeType="1"/>
            </p:cNvSpPr>
            <p:nvPr/>
          </p:nvSpPr>
          <p:spPr bwMode="auto">
            <a:xfrm flipH="1">
              <a:off x="417513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6" name="Line 17"/>
            <p:cNvSpPr>
              <a:spLocks noChangeShapeType="1"/>
            </p:cNvSpPr>
            <p:nvPr/>
          </p:nvSpPr>
          <p:spPr bwMode="auto">
            <a:xfrm>
              <a:off x="8656638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7" name="Line 9"/>
            <p:cNvSpPr>
              <a:spLocks noChangeShapeType="1"/>
            </p:cNvSpPr>
            <p:nvPr userDrawn="1"/>
          </p:nvSpPr>
          <p:spPr bwMode="auto">
            <a:xfrm flipV="1">
              <a:off x="9180512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28" name="Line 12"/>
            <p:cNvSpPr>
              <a:spLocks noChangeShapeType="1"/>
            </p:cNvSpPr>
            <p:nvPr userDrawn="1"/>
          </p:nvSpPr>
          <p:spPr bwMode="auto">
            <a:xfrm flipV="1">
              <a:off x="9180512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29" name="Line 9"/>
            <p:cNvSpPr>
              <a:spLocks noChangeShapeType="1"/>
            </p:cNvSpPr>
            <p:nvPr userDrawn="1"/>
          </p:nvSpPr>
          <p:spPr bwMode="auto">
            <a:xfrm flipV="1">
              <a:off x="9180512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30" name="Line 10"/>
            <p:cNvSpPr>
              <a:spLocks noChangeShapeType="1"/>
            </p:cNvSpPr>
            <p:nvPr userDrawn="1"/>
          </p:nvSpPr>
          <p:spPr bwMode="auto">
            <a:xfrm flipH="1">
              <a:off x="9180512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31" name="Line 12"/>
            <p:cNvSpPr>
              <a:spLocks noChangeShapeType="1"/>
            </p:cNvSpPr>
            <p:nvPr userDrawn="1"/>
          </p:nvSpPr>
          <p:spPr bwMode="auto">
            <a:xfrm flipV="1">
              <a:off x="9180512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32" name="Line 13"/>
            <p:cNvSpPr>
              <a:spLocks noChangeShapeType="1"/>
            </p:cNvSpPr>
            <p:nvPr userDrawn="1"/>
          </p:nvSpPr>
          <p:spPr bwMode="auto">
            <a:xfrm flipH="1" flipV="1">
              <a:off x="9180512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33" name="Line 14"/>
            <p:cNvSpPr>
              <a:spLocks noChangeShapeType="1"/>
            </p:cNvSpPr>
            <p:nvPr userDrawn="1"/>
          </p:nvSpPr>
          <p:spPr bwMode="auto">
            <a:xfrm>
              <a:off x="9180512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34" name="Line 15"/>
            <p:cNvSpPr>
              <a:spLocks noChangeShapeType="1"/>
            </p:cNvSpPr>
            <p:nvPr userDrawn="1"/>
          </p:nvSpPr>
          <p:spPr bwMode="auto">
            <a:xfrm flipH="1">
              <a:off x="417513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  <p:sp>
          <p:nvSpPr>
            <p:cNvPr id="35" name="Line 17"/>
            <p:cNvSpPr>
              <a:spLocks noChangeShapeType="1"/>
            </p:cNvSpPr>
            <p:nvPr userDrawn="1"/>
          </p:nvSpPr>
          <p:spPr bwMode="auto">
            <a:xfrm>
              <a:off x="8656638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124191"/>
                </a:solidFill>
              </a:endParaRPr>
            </a:p>
          </p:txBody>
        </p:sp>
      </p:grp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011" y="4650457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815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6" r:id="rId2"/>
    <p:sldLayoutId id="2147483897" r:id="rId3"/>
    <p:sldLayoutId id="2147483899" r:id="rId4"/>
  </p:sldLayoutIdLst>
  <p:hf sldNum="0"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378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3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77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196" indent="-225419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791" indent="-228594" algn="l" defTabSz="457189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2972" indent="-230183" algn="l" defTabSz="457189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067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1" r:id="rId1"/>
    <p:sldLayoutId id="2147484672" r:id="rId2"/>
    <p:sldLayoutId id="2147484673" r:id="rId3"/>
    <p:sldLayoutId id="2147484674" r:id="rId4"/>
    <p:sldLayoutId id="2147484675" r:id="rId5"/>
    <p:sldLayoutId id="2147484676" r:id="rId6"/>
    <p:sldLayoutId id="2147484677" r:id="rId7"/>
    <p:sldLayoutId id="2147484678" r:id="rId8"/>
    <p:sldLayoutId id="2147484679" r:id="rId9"/>
    <p:sldLayoutId id="2147484680" r:id="rId10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</a:t>
            </a:r>
            <a:r>
              <a:rPr lang="en-US" dirty="0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rgbClr val="001135"/>
                </a:solidFill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rgbClr val="001135"/>
                </a:solidFill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rgbClr val="001135"/>
              </a:solidFill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61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6" r:id="rId1"/>
    <p:sldLayoutId id="2147484687" r:id="rId2"/>
    <p:sldLayoutId id="2147484688" r:id="rId3"/>
    <p:sldLayoutId id="2147484689" r:id="rId4"/>
    <p:sldLayoutId id="2147484690" r:id="rId5"/>
    <p:sldLayoutId id="2147484691" r:id="rId6"/>
    <p:sldLayoutId id="2147484692" r:id="rId7"/>
    <p:sldLayoutId id="2147484693" r:id="rId8"/>
    <p:sldLayoutId id="2147484694" r:id="rId9"/>
    <p:sldLayoutId id="2147484696" r:id="rId10"/>
    <p:sldLayoutId id="2147484697" r:id="rId11"/>
    <p:sldLayoutId id="2147484698" r:id="rId12"/>
    <p:sldLayoutId id="2147484699" r:id="rId13"/>
    <p:sldLayoutId id="2147484700" r:id="rId14"/>
    <p:sldLayoutId id="2147484701" r:id="rId15"/>
    <p:sldLayoutId id="2147484702" r:id="rId1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zh-CN" sz="800" dirty="0">
                <a:solidFill>
                  <a:schemeClr val="tx2"/>
                </a:solidFill>
                <a:latin typeface="SimSun"/>
                <a:cs typeface="SimSun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5927"/>
            <a:ext cx="237898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zh-CN" sz="1000" dirty="0">
              <a:solidFill>
                <a:schemeClr val="tx2"/>
              </a:solidFill>
              <a:latin typeface="SimSun"/>
              <a:ea typeface="SimSun"/>
              <a:cs typeface="SimSun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8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425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2" r:id="rId1"/>
    <p:sldLayoutId id="2147484723" r:id="rId2"/>
    <p:sldLayoutId id="2147484724" r:id="rId3"/>
    <p:sldLayoutId id="2147484725" r:id="rId4"/>
    <p:sldLayoutId id="2147484729" r:id="rId5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1084856" y="4784726"/>
            <a:ext cx="367873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2"/>
                </a:solidFill>
                <a:cs typeface="Arial" charset="0"/>
              </a:rPr>
              <a:t>Confidential, 2018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585787" y="4778420"/>
            <a:ext cx="250235" cy="1349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2082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2" r:id="rId1"/>
    <p:sldLayoutId id="2147484733" r:id="rId2"/>
    <p:sldLayoutId id="2147484734" r:id="rId3"/>
    <p:sldLayoutId id="2147484735" r:id="rId4"/>
    <p:sldLayoutId id="2147484736" r:id="rId5"/>
    <p:sldLayoutId id="2147484740" r:id="rId6"/>
    <p:sldLayoutId id="2147484742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1084856" y="4784726"/>
            <a:ext cx="367873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2"/>
                </a:solidFill>
                <a:cs typeface="Arial" charset="0"/>
              </a:rPr>
              <a:t>Confidential, 2018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585787" y="4778420"/>
            <a:ext cx="250235" cy="1349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79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6" r:id="rId1"/>
    <p:sldLayoutId id="2147484757" r:id="rId2"/>
    <p:sldLayoutId id="2147484758" r:id="rId3"/>
    <p:sldLayoutId id="2147484759" r:id="rId4"/>
    <p:sldLayoutId id="2147484760" r:id="rId5"/>
    <p:sldLayoutId id="2147484761" r:id="rId6"/>
    <p:sldLayoutId id="2147484762" r:id="rId7"/>
    <p:sldLayoutId id="2147484763" r:id="rId8"/>
    <p:sldLayoutId id="2147484764" r:id="rId9"/>
    <p:sldLayoutId id="2147484766" r:id="rId10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</a:t>
            </a:r>
            <a:r>
              <a:rPr lang="en-US" dirty="0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rgbClr val="001135"/>
                </a:solidFill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rgbClr val="001135"/>
                </a:solidFill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rgbClr val="001135"/>
              </a:solidFill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>
                <a:solidFill>
                  <a:srgbClr val="001135"/>
                </a:solidFill>
              </a:rPr>
              <a:t>&lt;Document ID: change ID in footer or remove&gt; &lt;Change information classification in footer&gt;</a:t>
            </a:r>
            <a:endParaRPr lang="en-US" dirty="0">
              <a:solidFill>
                <a:srgbClr val="001135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6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9" r:id="rId1"/>
    <p:sldLayoutId id="2147484770" r:id="rId2"/>
    <p:sldLayoutId id="2147484771" r:id="rId3"/>
    <p:sldLayoutId id="2147484772" r:id="rId4"/>
    <p:sldLayoutId id="2147484773" r:id="rId5"/>
    <p:sldLayoutId id="2147484774" r:id="rId6"/>
    <p:sldLayoutId id="2147484775" r:id="rId7"/>
    <p:sldLayoutId id="2147484776" r:id="rId8"/>
    <p:sldLayoutId id="2147484777" r:id="rId9"/>
    <p:sldLayoutId id="2147484778" r:id="rId10"/>
    <p:sldLayoutId id="2147484779" r:id="rId11"/>
    <p:sldLayoutId id="2147484780" r:id="rId12"/>
    <p:sldLayoutId id="2147484781" r:id="rId13"/>
    <p:sldLayoutId id="2147484782" r:id="rId14"/>
    <p:sldLayoutId id="2147484783" r:id="rId15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000000"/>
                </a:solidFill>
                <a:latin typeface="Nokia Pure Text"/>
                <a:ea typeface="Nokia Pure Text Light" panose="020B0403020202020204" pitchFamily="34" charset="0"/>
                <a:cs typeface="Arial" charset="0"/>
              </a:rPr>
              <a:t>© </a:t>
            </a:r>
            <a:r>
              <a:rPr lang="en-GB" sz="800" dirty="0">
                <a:solidFill>
                  <a:srgbClr val="000000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Nokia</a:t>
            </a:r>
            <a:r>
              <a:rPr lang="en-GB" sz="800" dirty="0">
                <a:solidFill>
                  <a:srgbClr val="000000"/>
                </a:solidFill>
                <a:latin typeface="Nokia Pure Text"/>
                <a:ea typeface="Nokia Pure Text Light" panose="020B0403020202020204" pitchFamily="34" charset="0"/>
                <a:cs typeface="Arial" charset="0"/>
              </a:rPr>
              <a:t> 2016</a:t>
            </a:r>
          </a:p>
        </p:txBody>
      </p:sp>
      <p:sp>
        <p:nvSpPr>
          <p:cNvPr id="29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000000"/>
                </a:solidFill>
                <a:latin typeface="Nokia Pure Text"/>
                <a:ea typeface="Nokia Pure Text Light" panose="020B0403020202020204" pitchFamily="34" charset="0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latin typeface="Nokia Pure Tex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Footer Placeholder 27"/>
          <p:cNvSpPr txBox="1">
            <a:spLocks/>
          </p:cNvSpPr>
          <p:nvPr userDrawn="1"/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2"/>
                </a:solidFill>
                <a:latin typeface="+mn-lt"/>
                <a:ea typeface="ヒラギノ角ゴ Pro W3"/>
                <a:cs typeface="ヒラギノ角ゴ Pro W3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/>
                <a:cs typeface="ヒラギノ角ゴ Pro W3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de-DE" dirty="0" err="1">
                <a:solidFill>
                  <a:srgbClr val="000000"/>
                </a:solidFill>
                <a:latin typeface="Nokia Pure Text"/>
                <a:ea typeface="+mn-ea"/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000000"/>
              </a:solidFill>
              <a:latin typeface="Nokia Pure Tex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35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7" r:id="rId1"/>
    <p:sldLayoutId id="2147484788" r:id="rId2"/>
    <p:sldLayoutId id="2147484789" r:id="rId3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</a:t>
            </a:r>
            <a:r>
              <a:rPr lang="en-US" dirty="0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8" y="4652838"/>
            <a:ext cx="1611025" cy="424800"/>
          </a:xfrm>
          <a:prstGeom prst="rect">
            <a:avLst/>
          </a:prstGeom>
        </p:spPr>
      </p:pic>
      <p:sp>
        <p:nvSpPr>
          <p:cNvPr id="11" name="Footer Placeholder 27">
            <a:extLst>
              <a:ext uri="{FF2B5EF4-FFF2-40B4-BE49-F238E27FC236}">
                <a16:creationId xmlns:a16="http://schemas.microsoft.com/office/drawing/2014/main" id="{BC499088-F1CF-497F-B7E4-D5417CFA0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3877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3" r:id="rId1"/>
    <p:sldLayoutId id="2147484794" r:id="rId2"/>
    <p:sldLayoutId id="2147484795" r:id="rId3"/>
    <p:sldLayoutId id="2147484797" r:id="rId4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n-lt"/>
          <a:ea typeface="微软雅黑" panose="020B0503020204020204" pitchFamily="34" charset="-122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1084856" y="4784726"/>
            <a:ext cx="367873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2"/>
                </a:solidFill>
                <a:cs typeface="Arial" charset="0"/>
              </a:rPr>
              <a:t>Confidential, 2018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585787" y="4778420"/>
            <a:ext cx="250235" cy="1349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688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9" r:id="rId1"/>
    <p:sldLayoutId id="2147484800" r:id="rId2"/>
    <p:sldLayoutId id="2147484801" r:id="rId3"/>
    <p:sldLayoutId id="2147484802" r:id="rId4"/>
    <p:sldLayoutId id="2147484803" r:id="rId5"/>
    <p:sldLayoutId id="2147484805" r:id="rId6"/>
    <p:sldLayoutId id="2147484806" r:id="rId7"/>
    <p:sldLayoutId id="2147484808" r:id="rId8"/>
    <p:sldLayoutId id="2147484809" r:id="rId9"/>
    <p:sldLayoutId id="2147484810" r:id="rId10"/>
    <p:sldLayoutId id="2147484812" r:id="rId11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zh-CN" sz="800" dirty="0">
                <a:solidFill>
                  <a:schemeClr val="tx2"/>
                </a:solidFill>
                <a:latin typeface="SimSun"/>
                <a:cs typeface="SimSun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5927"/>
            <a:ext cx="237898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zh-CN" sz="1000" dirty="0">
              <a:solidFill>
                <a:schemeClr val="tx2"/>
              </a:solidFill>
              <a:latin typeface="SimSun"/>
              <a:ea typeface="SimSun"/>
              <a:cs typeface="SimSun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8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322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4" r:id="rId1"/>
    <p:sldLayoutId id="2147484815" r:id="rId2"/>
    <p:sldLayoutId id="2147484816" r:id="rId3"/>
    <p:sldLayoutId id="2147484817" r:id="rId4"/>
    <p:sldLayoutId id="2147484818" r:id="rId5"/>
    <p:sldLayoutId id="2147484819" r:id="rId6"/>
    <p:sldLayoutId id="2147484820" r:id="rId7"/>
    <p:sldLayoutId id="2147484822" r:id="rId8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ea typeface="Nokia Pure Text Light" panose="020B0403020202020204" pitchFamily="34" charset="0"/>
                <a:cs typeface="Arial" charset="0"/>
              </a:rPr>
              <a:t>© Nokia 2017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rgbClr val="001135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4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8" r:id="rId17"/>
    <p:sldLayoutId id="2147484059" r:id="rId18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</a:t>
            </a:r>
            <a:r>
              <a:rPr lang="en-US" dirty="0"/>
              <a:t> to edit Master title slide</a:t>
            </a: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&lt;Document ID: change ID in footer or remove&gt; 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496296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4" r:id="rId1"/>
    <p:sldLayoutId id="2147484825" r:id="rId2"/>
    <p:sldLayoutId id="2147484826" r:id="rId3"/>
    <p:sldLayoutId id="2147484827" r:id="rId4"/>
    <p:sldLayoutId id="2147484828" r:id="rId5"/>
    <p:sldLayoutId id="2147484829" r:id="rId6"/>
    <p:sldLayoutId id="2147484830" r:id="rId7"/>
    <p:sldLayoutId id="2147484831" r:id="rId8"/>
    <p:sldLayoutId id="2147484832" r:id="rId9"/>
    <p:sldLayoutId id="2147484834" r:id="rId10"/>
    <p:sldLayoutId id="2147484835" r:id="rId11"/>
    <p:sldLayoutId id="2147484836" r:id="rId12"/>
    <p:sldLayoutId id="2147484837" r:id="rId1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</a:t>
            </a:r>
            <a:r>
              <a:rPr lang="en-US" dirty="0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644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6" r:id="rId1"/>
    <p:sldLayoutId id="2147484857" r:id="rId2"/>
    <p:sldLayoutId id="2147484858" r:id="rId3"/>
    <p:sldLayoutId id="2147484859" r:id="rId4"/>
    <p:sldLayoutId id="2147484860" r:id="rId5"/>
    <p:sldLayoutId id="2147484861" r:id="rId6"/>
    <p:sldLayoutId id="2147484862" r:id="rId7"/>
    <p:sldLayoutId id="2147484863" r:id="rId8"/>
    <p:sldLayoutId id="2147484864" r:id="rId9"/>
    <p:sldLayoutId id="2147484865" r:id="rId10"/>
    <p:sldLayoutId id="2147484866" r:id="rId11"/>
    <p:sldLayoutId id="2147484867" r:id="rId1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990" y="197684"/>
            <a:ext cx="6542353" cy="371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8298" tIns="39146" rIns="78298" bIns="3914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9397" y="1091308"/>
            <a:ext cx="1910472" cy="3384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8298" tIns="39146" rIns="78298" bIns="39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0611" y="4839988"/>
            <a:ext cx="2131245" cy="20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0257" tIns="35124" rIns="70257" bIns="35124" numCol="1" anchor="t" anchorCtr="0" compatLnSpc="1">
            <a:prstTxWarp prst="textNoShape">
              <a:avLst/>
            </a:prstTxWarp>
          </a:bodyPr>
          <a:lstStyle>
            <a:lvl1pPr algn="r">
              <a:defRPr kumimoji="0" sz="799">
                <a:solidFill>
                  <a:schemeClr val="tx1"/>
                </a:solidFill>
                <a:latin typeface="Arial" pitchFamily="34" charset="0"/>
                <a:ea typeface="楷体_GB2312" pitchFamily="49" charset="-122"/>
              </a:defRPr>
            </a:lvl1pPr>
          </a:lstStyle>
          <a:p>
            <a:pPr>
              <a:defRPr/>
            </a:pPr>
            <a:fld id="{F36CBE87-8C50-4E46-B150-3FC4633502D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116" y="197684"/>
            <a:ext cx="1610745" cy="42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434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7" r:id="rId1"/>
    <p:sldLayoutId id="2147484878" r:id="rId2"/>
    <p:sldLayoutId id="2147484879" r:id="rId3"/>
    <p:sldLayoutId id="2147484880" r:id="rId4"/>
    <p:sldLayoutId id="2147484881" r:id="rId5"/>
    <p:sldLayoutId id="2147484882" r:id="rId6"/>
    <p:sldLayoutId id="2147484883" r:id="rId7"/>
  </p:sldLayoutIdLst>
  <p:transition/>
  <p:hf hdr="0" ftr="0" dt="0"/>
  <p:txStyles>
    <p:titleStyle>
      <a:lvl1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2pPr>
      <a:lvl3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3pPr>
      <a:lvl4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4pPr>
      <a:lvl5pPr algn="l" defTabSz="782692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accent2"/>
          </a:solidFill>
          <a:latin typeface="Arial" charset="0"/>
          <a:ea typeface="楷体_GB2312" pitchFamily="49" charset="-122"/>
        </a:defRPr>
      </a:lvl5pPr>
      <a:lvl6pPr marL="352109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6pPr>
      <a:lvl7pPr marL="704201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7pPr>
      <a:lvl8pPr marL="1056301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8pPr>
      <a:lvl9pPr marL="1408397" algn="l" defTabSz="784890" rtl="0" eaLnBrk="1" fontAlgn="base" hangingPunct="1">
        <a:spcBef>
          <a:spcPct val="0"/>
        </a:spcBef>
        <a:spcAft>
          <a:spcPct val="0"/>
        </a:spcAft>
        <a:defRPr sz="1898" b="1">
          <a:solidFill>
            <a:schemeClr val="tx2"/>
          </a:solidFill>
          <a:latin typeface="Arial" charset="0"/>
          <a:ea typeface="楷体_GB2312" pitchFamily="49" charset="-122"/>
        </a:defRPr>
      </a:lvl9pPr>
    </p:titleStyle>
    <p:bodyStyle>
      <a:lvl1pPr marL="133304" indent="-133304" algn="just" defTabSz="782692" rtl="0" eaLnBrk="1" fontAlgn="base" hangingPunct="1">
        <a:lnSpc>
          <a:spcPct val="110000"/>
        </a:lnSpc>
        <a:spcBef>
          <a:spcPct val="40000"/>
        </a:spcBef>
        <a:spcAft>
          <a:spcPct val="0"/>
        </a:spcAft>
        <a:buSzPct val="80000"/>
        <a:buFont typeface="Wingdings" pitchFamily="2" charset="2"/>
        <a:buChar char="n"/>
        <a:defRPr sz="1499">
          <a:solidFill>
            <a:schemeClr val="tx1"/>
          </a:solidFill>
          <a:latin typeface="+mn-lt"/>
          <a:ea typeface="+mn-ea"/>
          <a:cs typeface="+mn-cs"/>
        </a:defRPr>
      </a:lvl1pPr>
      <a:lvl2pPr marL="406026" indent="-132081" algn="just" defTabSz="782692" rtl="0" eaLnBrk="1" fontAlgn="base" hangingPunct="1">
        <a:lnSpc>
          <a:spcPct val="110000"/>
        </a:lnSpc>
        <a:spcBef>
          <a:spcPct val="40000"/>
        </a:spcBef>
        <a:spcAft>
          <a:spcPct val="0"/>
        </a:spcAft>
        <a:buSzPct val="80000"/>
        <a:buFont typeface="Arial" charset="0"/>
        <a:buChar char="–"/>
        <a:defRPr sz="1499">
          <a:solidFill>
            <a:schemeClr val="tx1"/>
          </a:solidFill>
          <a:latin typeface="+mn-lt"/>
          <a:ea typeface="+mn-ea"/>
        </a:defRPr>
      </a:lvl2pPr>
      <a:lvl3pPr marL="988159" indent="-193231" algn="l" defTabSz="782692" rtl="0" eaLnBrk="1" fontAlgn="base" hangingPunct="1">
        <a:spcBef>
          <a:spcPct val="20000"/>
        </a:spcBef>
        <a:spcAft>
          <a:spcPct val="0"/>
        </a:spcAft>
        <a:buChar char="•"/>
        <a:defRPr sz="2198">
          <a:solidFill>
            <a:schemeClr val="tx1"/>
          </a:solidFill>
          <a:latin typeface="+mn-lt"/>
          <a:ea typeface="楷体_GB2312" pitchFamily="49" charset="-122"/>
        </a:defRPr>
      </a:lvl3pPr>
      <a:lvl4pPr marL="1322018" indent="-193231" algn="l" defTabSz="782692" rtl="0" eaLnBrk="1" fontAlgn="base" hangingPunct="1">
        <a:spcBef>
          <a:spcPct val="20000"/>
        </a:spcBef>
        <a:spcAft>
          <a:spcPct val="0"/>
        </a:spcAft>
        <a:buChar char="–"/>
        <a:defRPr sz="1698">
          <a:solidFill>
            <a:schemeClr val="tx1"/>
          </a:solidFill>
          <a:latin typeface="+mn-lt"/>
          <a:ea typeface="楷体_GB2312" pitchFamily="49" charset="-122"/>
        </a:defRPr>
      </a:lvl4pPr>
      <a:lvl5pPr marL="1655888" indent="-193231" algn="l" defTabSz="782692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楷体_GB2312" pitchFamily="49" charset="-122"/>
        </a:defRPr>
      </a:lvl5pPr>
      <a:lvl6pPr marL="2009897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6pPr>
      <a:lvl7pPr marL="2361994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7pPr>
      <a:lvl8pPr marL="2714098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8pPr>
      <a:lvl9pPr marL="3066197" indent="-195610" algn="l" defTabSz="784890" rtl="0" eaLnBrk="1" fontAlgn="base" hangingPunct="1">
        <a:spcBef>
          <a:spcPct val="20000"/>
        </a:spcBef>
        <a:spcAft>
          <a:spcPct val="0"/>
        </a:spcAft>
        <a:buChar char="»"/>
        <a:defRPr sz="1698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1pPr>
      <a:lvl2pPr marL="352109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2pPr>
      <a:lvl3pPr marL="704201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3pPr>
      <a:lvl4pPr marL="1056301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4pPr>
      <a:lvl5pPr marL="14083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5pPr>
      <a:lvl6pPr marL="1760498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7pPr>
      <a:lvl8pPr marL="24646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8pPr>
      <a:lvl9pPr marL="2816797" algn="l" defTabSz="704201" rtl="0" eaLnBrk="1" latinLnBrk="0" hangingPunct="1">
        <a:defRPr sz="1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12" name="Text Placeholder 12"/>
          <p:cNvSpPr txBox="1">
            <a:spLocks/>
          </p:cNvSpPr>
          <p:nvPr userDrawn="1"/>
        </p:nvSpPr>
        <p:spPr>
          <a:xfrm>
            <a:off x="417600" y="68946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None/>
              <a:defRPr sz="2800" kern="1200">
                <a:solidFill>
                  <a:schemeClr val="bg2"/>
                </a:solidFill>
                <a:latin typeface="Nokia Pure Headline Ultra Light" panose="020B0204020202020204" pitchFamily="34" charset="0"/>
                <a:ea typeface="ヒラギノ角ゴ Pro W3" charset="0"/>
                <a:cs typeface="ヒラギノ角ゴ Pro W3" charset="0"/>
              </a:defRPr>
            </a:lvl1pPr>
            <a:lvl2pPr marL="458788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j-lt"/>
                <a:ea typeface="ヒラギノ角ゴ Pro W3" charset="0"/>
                <a:cs typeface="ヒラギノ角ゴ Pro W3"/>
              </a:defRPr>
            </a:lvl2pPr>
            <a:lvl3pPr marL="684213" indent="-225425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ヒラギノ角ゴ Pro W3" charset="0"/>
                <a:cs typeface="ヒラギノ角ゴ Pro W3"/>
              </a:defRPr>
            </a:lvl3pPr>
            <a:lvl4pPr marL="912813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j-lt"/>
                <a:ea typeface="ヒラギノ角ゴ Pro W3" charset="0"/>
                <a:cs typeface="ヒラギノ角ゴ Pro W3"/>
              </a:defRPr>
            </a:lvl4pPr>
            <a:lvl5pPr marL="1143000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ヒラギノ角ゴ Pro W3" charset="0"/>
                <a:cs typeface="ヒラギノ角ゴ Pro W3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secondary headline</a:t>
            </a:r>
            <a:endParaRPr lang="en-US" dirty="0"/>
          </a:p>
        </p:txBody>
      </p:sp>
      <p:sp>
        <p:nvSpPr>
          <p:cNvPr id="13" name="Text Placeholder 42"/>
          <p:cNvSpPr txBox="1">
            <a:spLocks/>
          </p:cNvSpPr>
          <p:nvPr userDrawn="1"/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None/>
              <a:defRPr sz="2800" kern="1200" baseline="0">
                <a:solidFill>
                  <a:schemeClr val="tx1"/>
                </a:solidFill>
                <a:latin typeface="Nokia Pure Headline Ultra Light" panose="020B0204020202020204" pitchFamily="34" charset="0"/>
                <a:ea typeface="ヒラギノ角ゴ Pro W3" charset="0"/>
                <a:cs typeface="ヒラギノ角ゴ Pro W3" charset="0"/>
              </a:defRPr>
            </a:lvl1pPr>
            <a:lvl2pPr marL="458788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8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2pPr>
            <a:lvl3pPr marL="684213" indent="-225425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3pPr>
            <a:lvl4pPr marL="912813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4pPr>
            <a:lvl5pPr marL="1143000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headline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Nokia October 2017</a:t>
            </a:r>
          </a:p>
        </p:txBody>
      </p:sp>
      <p:sp>
        <p:nvSpPr>
          <p:cNvPr id="1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Public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312303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</a:t>
            </a:r>
            <a:r>
              <a:rPr lang="en-US" dirty="0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 &lt;Change information classification in footer&gt;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03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  <p:sldLayoutId id="2147484101" r:id="rId12"/>
    <p:sldLayoutId id="2147484102" r:id="rId13"/>
    <p:sldLayoutId id="2147484103" r:id="rId14"/>
    <p:sldLayoutId id="2147484104" r:id="rId15"/>
    <p:sldLayoutId id="2147484105" r:id="rId16"/>
    <p:sldLayoutId id="2147484106" r:id="rId17"/>
    <p:sldLayoutId id="2147484107" r:id="rId18"/>
    <p:sldLayoutId id="2147484108" r:id="rId19"/>
    <p:sldLayoutId id="2147484109" r:id="rId20"/>
    <p:sldLayoutId id="2147484110" r:id="rId21"/>
    <p:sldLayoutId id="2147484111" r:id="rId22"/>
    <p:sldLayoutId id="2147484112" r:id="rId23"/>
    <p:sldLayoutId id="2147484113" r:id="rId24"/>
    <p:sldLayoutId id="2147484114" r:id="rId25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4129B0A8-D224-4F71-B491-01CAAE22A37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7513" y="280988"/>
            <a:ext cx="8308975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lide</a:t>
            </a:r>
          </a:p>
        </p:txBody>
      </p:sp>
      <p:sp>
        <p:nvSpPr>
          <p:cNvPr id="1027" name="TextBox 18">
            <a:extLst>
              <a:ext uri="{FF2B5EF4-FFF2-40B4-BE49-F238E27FC236}">
                <a16:creationId xmlns:a16="http://schemas.microsoft.com/office/drawing/2014/main" id="{5975FB20-C9CA-4E24-8DDB-3F722C9C7DA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57225" y="4816475"/>
            <a:ext cx="18002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zh-CN" sz="800">
                <a:solidFill>
                  <a:schemeClr val="tx2"/>
                </a:solidFill>
                <a:latin typeface="Nokia Pure Text" panose="020B0504040602060303" pitchFamily="34" charset="0"/>
                <a:ea typeface="宋体" panose="02010600030101010101" pitchFamily="2" charset="-122"/>
              </a:rPr>
              <a:t>© 2016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F09D6D6-CE77-479B-8FAF-D5B91F6406A9}"/>
              </a:ext>
            </a:extLst>
          </p:cNvPr>
          <p:cNvSpPr txBox="1">
            <a:spLocks/>
          </p:cNvSpPr>
          <p:nvPr userDrawn="1"/>
        </p:nvSpPr>
        <p:spPr>
          <a:xfrm>
            <a:off x="419100" y="4816475"/>
            <a:ext cx="144463" cy="122238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A43E25D2-5897-4FB2-A5BB-E8B10772E7BD}" type="slidenum">
              <a:rPr lang="en-GB" altLang="zh-CN" sz="800" smtClean="0">
                <a:solidFill>
                  <a:schemeClr val="tx2"/>
                </a:solidFill>
                <a:latin typeface="Nokia Pure Text" panose="020B0504040602060303" pitchFamily="34" charset="0"/>
                <a:ea typeface="宋体" panose="02010600030101010101" pitchFamily="2" charset="-122"/>
              </a:rPr>
              <a:pPr eaLnBrk="1" hangingPunct="1">
                <a:defRPr/>
              </a:pPr>
              <a:t>‹#›</a:t>
            </a:fld>
            <a:endParaRPr lang="en-GB" altLang="zh-CN" sz="1000">
              <a:solidFill>
                <a:schemeClr val="tx2"/>
              </a:solidFill>
              <a:latin typeface="Nokia Pure Text" panose="020B0504040602060303" pitchFamily="34" charset="0"/>
              <a:ea typeface="宋体" panose="02010600030101010101" pitchFamily="2" charset="-122"/>
            </a:endParaRPr>
          </a:p>
        </p:txBody>
      </p:sp>
      <p:sp>
        <p:nvSpPr>
          <p:cNvPr id="23" name="Footer Placeholder 27">
            <a:extLst>
              <a:ext uri="{FF2B5EF4-FFF2-40B4-BE49-F238E27FC236}">
                <a16:creationId xmlns:a16="http://schemas.microsoft.com/office/drawing/2014/main" id="{8CA4D64C-ECD2-4CB5-A779-4E670703A3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92400" y="4816475"/>
            <a:ext cx="2581275" cy="12223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Internal Use only</a:t>
            </a:r>
            <a:endParaRPr lang="en-US" dirty="0"/>
          </a:p>
        </p:txBody>
      </p:sp>
      <p:pic>
        <p:nvPicPr>
          <p:cNvPr id="1030" name="Picture 2" descr="\\DML-NAS\DML_Data\1 Live Jobs\Nokia\21353 - Nokia_BELL LABS_LOGOS Lock Up_March 2016\ENGLISH\PNG\RGB\NOKIA_BELLLABS_LOGO_RGB_HR.png">
            <a:extLst>
              <a:ext uri="{FF2B5EF4-FFF2-40B4-BE49-F238E27FC236}">
                <a16:creationId xmlns:a16="http://schemas.microsoft.com/office/drawing/2014/main" id="{D231886E-82F0-419F-83DC-77AD2CB4DB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438" y="4656138"/>
            <a:ext cx="1566862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195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20" r:id="rId4"/>
    <p:sldLayoutId id="2147484121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Nokia Pure Headline Light" panose="020B030404060206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2017 Nokia</a:t>
            </a: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2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77" y="4652838"/>
            <a:ext cx="1611025" cy="424800"/>
          </a:xfrm>
          <a:prstGeom prst="rect">
            <a:avLst/>
          </a:prstGeom>
        </p:spPr>
      </p:pic>
      <p:cxnSp>
        <p:nvCxnSpPr>
          <p:cNvPr id="9" name="Straight Connector 26"/>
          <p:cNvCxnSpPr/>
          <p:nvPr userDrawn="1"/>
        </p:nvCxnSpPr>
        <p:spPr>
          <a:xfrm>
            <a:off x="0" y="598082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912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7" r:id="rId7"/>
    <p:sldLayoutId id="2147484138" r:id="rId8"/>
    <p:sldLayoutId id="2147484139" r:id="rId9"/>
    <p:sldLayoutId id="2147484140" r:id="rId10"/>
    <p:sldLayoutId id="2147484142" r:id="rId11"/>
    <p:sldLayoutId id="2147484143" r:id="rId12"/>
    <p:sldLayoutId id="2147484144" r:id="rId13"/>
    <p:sldLayoutId id="2147484145" r:id="rId14"/>
    <p:sldLayoutId id="2147484147" r:id="rId15"/>
    <p:sldLayoutId id="2147484148" r:id="rId16"/>
    <p:sldLayoutId id="2147484149" r:id="rId17"/>
    <p:sldLayoutId id="2147484150" r:id="rId1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8.xml"/><Relationship Id="rId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7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7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1000" y="188654"/>
            <a:ext cx="8308800" cy="309600"/>
          </a:xfrm>
        </p:spPr>
        <p:txBody>
          <a:bodyPr anchor="ctr" anchorCtr="0"/>
          <a:lstStyle/>
          <a:p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GC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功能当前部署规划</a:t>
            </a:r>
            <a:endParaRPr lang="en-US" altLang="zh-CN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2E74124A-5C64-478F-9281-D921A2860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4042572"/>
              </p:ext>
            </p:extLst>
          </p:nvPr>
        </p:nvGraphicFramePr>
        <p:xfrm>
          <a:off x="251000" y="1614024"/>
          <a:ext cx="8737958" cy="3145600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941696">
                  <a:extLst>
                    <a:ext uri="{9D8B030D-6E8A-4147-A177-3AD203B41FA5}">
                      <a16:colId xmlns:a16="http://schemas.microsoft.com/office/drawing/2014/main" val="2709208003"/>
                    </a:ext>
                  </a:extLst>
                </a:gridCol>
                <a:gridCol w="1812687">
                  <a:extLst>
                    <a:ext uri="{9D8B030D-6E8A-4147-A177-3AD203B41FA5}">
                      <a16:colId xmlns:a16="http://schemas.microsoft.com/office/drawing/2014/main" val="1403329402"/>
                    </a:ext>
                  </a:extLst>
                </a:gridCol>
                <a:gridCol w="1741546">
                  <a:extLst>
                    <a:ext uri="{9D8B030D-6E8A-4147-A177-3AD203B41FA5}">
                      <a16:colId xmlns:a16="http://schemas.microsoft.com/office/drawing/2014/main" val="3720805853"/>
                    </a:ext>
                  </a:extLst>
                </a:gridCol>
                <a:gridCol w="2425148">
                  <a:extLst>
                    <a:ext uri="{9D8B030D-6E8A-4147-A177-3AD203B41FA5}">
                      <a16:colId xmlns:a16="http://schemas.microsoft.com/office/drawing/2014/main" val="357550818"/>
                    </a:ext>
                  </a:extLst>
                </a:gridCol>
                <a:gridCol w="1816881">
                  <a:extLst>
                    <a:ext uri="{9D8B030D-6E8A-4147-A177-3AD203B41FA5}">
                      <a16:colId xmlns:a16="http://schemas.microsoft.com/office/drawing/2014/main" val="633934283"/>
                    </a:ext>
                  </a:extLst>
                </a:gridCol>
              </a:tblGrid>
              <a:tr h="21955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服务化架构</a:t>
                      </a:r>
                      <a:endParaRPr lang="en-GB" sz="1000" b="0" i="0" u="none" strike="noStrike" dirty="0">
                        <a:solidFill>
                          <a:schemeClr val="tx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5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GC CP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内开放接口（单厂家）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NR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方案验证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HTTP proxy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方案验证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5G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内重点接口多厂家互通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NR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功能定义及规划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HTTP Proxy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功能定义及规划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5G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控制面节点间启用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SBI</a:t>
                      </a: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在大区及部分省部署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NR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及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HTTP Proxy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国际漫游间服务化接口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IMS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支持服务化接口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NR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及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HTTP Proxy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的增强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425675"/>
                  </a:ext>
                </a:extLst>
              </a:tr>
              <a:tr h="19230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云化</a:t>
                      </a:r>
                      <a:endParaRPr lang="en-GB" sz="1000" b="0" i="0" u="none" strike="noStrike" dirty="0">
                        <a:solidFill>
                          <a:schemeClr val="tx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5G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控制面节点虚拟化测试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用户面节点虚拟化比对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 err="1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vME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功能验证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数据库及信令节点虚拟化测试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5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G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控制面节点虚拟化部署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UP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采用混合设备形态（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VNF+PN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）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 err="1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vUDR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试点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 err="1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vUDR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规模化部署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 err="1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vUDS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试点与部署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249809"/>
                  </a:ext>
                </a:extLst>
              </a:tr>
              <a:tr h="19230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网络切片</a:t>
                      </a:r>
                      <a:endParaRPr lang="en-GB" sz="1000" b="0" i="0" u="none" strike="noStrike" dirty="0">
                        <a:solidFill>
                          <a:schemeClr val="tx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网络切片选择（包括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NSS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）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网络切片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M&amp;O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测试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跨系统互操作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部署网络切片功能（含基本管理功能）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网络切片的自动化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M&amp;O</a:t>
                      </a: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RAN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对切片的增强功能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595332"/>
                  </a:ext>
                </a:extLst>
              </a:tr>
              <a:tr h="192300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SDL</a:t>
                      </a:r>
                      <a:endParaRPr lang="en-GB" sz="1000" b="0" i="0" u="none" strike="noStrike" dirty="0">
                        <a:solidFill>
                          <a:schemeClr val="tx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融合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HSS/UDM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数据库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计算与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SDL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解耦（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UDS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）功能验证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融合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2/3/4/5G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 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HSS/UDM</a:t>
                      </a: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UDS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试点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UDR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支持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NE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及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A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集成测试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UDS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商用部署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790384"/>
                  </a:ext>
                </a:extLst>
              </a:tr>
              <a:tr h="192300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CUPS</a:t>
                      </a:r>
                      <a:r>
                        <a:rPr lang="zh-CN" altLang="en-US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及</a:t>
                      </a:r>
                      <a:r>
                        <a:rPr lang="en-US" altLang="zh-CN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PCC</a:t>
                      </a:r>
                      <a:endParaRPr lang="en-GB" sz="1000" b="0" i="0" u="none" strike="noStrike" dirty="0">
                        <a:solidFill>
                          <a:schemeClr val="tx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SAEGW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的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CUPS</a:t>
                      </a: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三种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SS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模式验证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A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及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PC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控制的用户面修改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SM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及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UP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融合网元部署</a:t>
                      </a:r>
                      <a:endParaRPr lang="en-US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PC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部署支持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SM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集成及基本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AM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功能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PC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支持增强的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AM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及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UE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策略控制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7109603"/>
                  </a:ext>
                </a:extLst>
              </a:tr>
              <a:tr h="19230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能力开放</a:t>
                      </a:r>
                      <a:endParaRPr lang="en-GB" sz="1000" b="0" i="0" u="none" strike="noStrike" dirty="0">
                        <a:solidFill>
                          <a:schemeClr val="tx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5GC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能力开放测试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融合能力开放平台的测试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融合能力开放平台的部署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304953"/>
                  </a:ext>
                </a:extLst>
              </a:tr>
              <a:tr h="19230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000" b="0" i="0" u="none" strike="noStrike" dirty="0">
                          <a:solidFill>
                            <a:schemeClr val="tx2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固移融合</a:t>
                      </a:r>
                      <a:endParaRPr lang="en-GB" sz="1000" b="0" i="0" u="none" strike="noStrike" dirty="0">
                        <a:solidFill>
                          <a:schemeClr val="tx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N3IWF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测试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非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3GPP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接入语音方案测试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indent="-88900" defTabSz="91440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3GPP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接入与非</a:t>
                      </a:r>
                      <a:r>
                        <a:rPr lang="en-US" altLang="zh-CN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3GPP</a:t>
                      </a:r>
                      <a:r>
                        <a:rPr lang="zh-CN" altLang="en-US" sz="1000" b="0" kern="0" dirty="0">
                          <a:solidFill>
                            <a:srgbClr val="001135"/>
                          </a:solidFill>
                          <a:latin typeface="等线" panose="02010600030101010101" pitchFamily="2" charset="-122"/>
                          <a:ea typeface="等线" panose="02010600030101010101" pitchFamily="2" charset="-122"/>
                          <a:cs typeface="Nokia Pure Text Light"/>
                        </a:rPr>
                        <a:t>接入的协同部署</a:t>
                      </a:r>
                      <a:endParaRPr lang="en-GB" altLang="zh-CN" sz="1000" b="0" kern="0" dirty="0">
                        <a:solidFill>
                          <a:srgbClr val="001135"/>
                        </a:solidFill>
                        <a:latin typeface="等线" panose="02010600030101010101" pitchFamily="2" charset="-122"/>
                        <a:ea typeface="等线" panose="02010600030101010101" pitchFamily="2" charset="-122"/>
                        <a:cs typeface="Nokia Pure Text Light"/>
                      </a:endParaRPr>
                    </a:p>
                  </a:txBody>
                  <a:tcPr marL="36000" marR="0" marT="36000" marB="360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9008902"/>
                  </a:ext>
                </a:extLst>
              </a:tr>
            </a:tbl>
          </a:graphicData>
        </a:graphic>
      </p:graphicFrame>
      <p:sp>
        <p:nvSpPr>
          <p:cNvPr id="92" name="Eingekerbter Richtungspfeil 17">
            <a:extLst>
              <a:ext uri="{FF2B5EF4-FFF2-40B4-BE49-F238E27FC236}">
                <a16:creationId xmlns:a16="http://schemas.microsoft.com/office/drawing/2014/main" id="{11EA2E25-C230-4345-838E-446672EFD8D0}"/>
              </a:ext>
            </a:extLst>
          </p:cNvPr>
          <p:cNvSpPr/>
          <p:nvPr/>
        </p:nvSpPr>
        <p:spPr bwMode="auto">
          <a:xfrm>
            <a:off x="6754599" y="1244108"/>
            <a:ext cx="2051100" cy="178472"/>
          </a:xfrm>
          <a:prstGeom prst="chevron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Nokia Pure Text"/>
                <a:ea typeface="+mn-ea"/>
                <a:cs typeface="+mn-cs"/>
              </a:rPr>
              <a:t>2021+</a:t>
            </a:r>
          </a:p>
        </p:txBody>
      </p:sp>
      <p:sp>
        <p:nvSpPr>
          <p:cNvPr id="93" name="Rechteck 4">
            <a:extLst>
              <a:ext uri="{FF2B5EF4-FFF2-40B4-BE49-F238E27FC236}">
                <a16:creationId xmlns:a16="http://schemas.microsoft.com/office/drawing/2014/main" id="{4AA973D8-8635-41E6-B2DC-9C3099C5085C}"/>
              </a:ext>
            </a:extLst>
          </p:cNvPr>
          <p:cNvSpPr/>
          <p:nvPr/>
        </p:nvSpPr>
        <p:spPr bwMode="auto">
          <a:xfrm>
            <a:off x="1171140" y="1244629"/>
            <a:ext cx="1572061" cy="181118"/>
          </a:xfrm>
          <a:prstGeom prst="homePlat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Nokia Pure Text"/>
                <a:ea typeface="+mn-ea"/>
                <a:cs typeface="+mn-cs"/>
              </a:rPr>
              <a:t>2018</a:t>
            </a:r>
          </a:p>
        </p:txBody>
      </p:sp>
      <p:sp>
        <p:nvSpPr>
          <p:cNvPr id="95" name="Eingekerbter Richtungspfeil 15">
            <a:extLst>
              <a:ext uri="{FF2B5EF4-FFF2-40B4-BE49-F238E27FC236}">
                <a16:creationId xmlns:a16="http://schemas.microsoft.com/office/drawing/2014/main" id="{E7082358-DD35-4744-9FBB-AA02D296F0AC}"/>
              </a:ext>
            </a:extLst>
          </p:cNvPr>
          <p:cNvSpPr/>
          <p:nvPr/>
        </p:nvSpPr>
        <p:spPr bwMode="auto">
          <a:xfrm>
            <a:off x="2655737" y="1244629"/>
            <a:ext cx="2135226" cy="181118"/>
          </a:xfrm>
          <a:prstGeom prst="chevron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Nokia Pure Text"/>
                <a:ea typeface="+mn-ea"/>
                <a:cs typeface="+mn-cs"/>
              </a:rPr>
              <a:t>2019</a:t>
            </a:r>
          </a:p>
        </p:txBody>
      </p:sp>
      <p:sp>
        <p:nvSpPr>
          <p:cNvPr id="129" name="Ellipse 219">
            <a:extLst>
              <a:ext uri="{FF2B5EF4-FFF2-40B4-BE49-F238E27FC236}">
                <a16:creationId xmlns:a16="http://schemas.microsoft.com/office/drawing/2014/main" id="{52B7D4FA-26C4-48C5-81C2-09A6EA826CB1}"/>
              </a:ext>
            </a:extLst>
          </p:cNvPr>
          <p:cNvSpPr/>
          <p:nvPr/>
        </p:nvSpPr>
        <p:spPr>
          <a:xfrm>
            <a:off x="415638" y="709588"/>
            <a:ext cx="635748" cy="534520"/>
          </a:xfrm>
          <a:custGeom>
            <a:avLst/>
            <a:gdLst/>
            <a:ahLst/>
            <a:cxnLst/>
            <a:rect l="l" t="t" r="r" b="b"/>
            <a:pathLst>
              <a:path w="3295118" h="2770450">
                <a:moveTo>
                  <a:pt x="2361459" y="0"/>
                </a:moveTo>
                <a:cubicBezTo>
                  <a:pt x="2679029" y="0"/>
                  <a:pt x="2959567" y="158917"/>
                  <a:pt x="3125751" y="403324"/>
                </a:cubicBezTo>
                <a:lnTo>
                  <a:pt x="2984305" y="491169"/>
                </a:lnTo>
                <a:cubicBezTo>
                  <a:pt x="2848129" y="295798"/>
                  <a:pt x="2621327" y="169455"/>
                  <a:pt x="2365084" y="169455"/>
                </a:cubicBezTo>
                <a:cubicBezTo>
                  <a:pt x="2065079" y="169455"/>
                  <a:pt x="1805430" y="342638"/>
                  <a:pt x="1683007" y="596093"/>
                </a:cubicBezTo>
                <a:lnTo>
                  <a:pt x="1682569" y="596093"/>
                </a:lnTo>
                <a:cubicBezTo>
                  <a:pt x="1630117" y="694704"/>
                  <a:pt x="1616148" y="758934"/>
                  <a:pt x="1602483" y="925332"/>
                </a:cubicBezTo>
                <a:cubicBezTo>
                  <a:pt x="1588327" y="1097710"/>
                  <a:pt x="1589710" y="1507495"/>
                  <a:pt x="1596304" y="1730679"/>
                </a:cubicBezTo>
                <a:lnTo>
                  <a:pt x="1598838" y="1772392"/>
                </a:lnTo>
                <a:lnTo>
                  <a:pt x="1595586" y="1836792"/>
                </a:lnTo>
                <a:cubicBezTo>
                  <a:pt x="1595586" y="1902647"/>
                  <a:pt x="1603912" y="1966558"/>
                  <a:pt x="1622279" y="2026833"/>
                </a:cubicBezTo>
                <a:cubicBezTo>
                  <a:pt x="1623137" y="2031554"/>
                  <a:pt x="1624342" y="2036183"/>
                  <a:pt x="1626533" y="2040539"/>
                </a:cubicBezTo>
                <a:cubicBezTo>
                  <a:pt x="1634690" y="2082610"/>
                  <a:pt x="1649457" y="2122384"/>
                  <a:pt x="1669293" y="2159502"/>
                </a:cubicBezTo>
                <a:cubicBezTo>
                  <a:pt x="1673510" y="2170106"/>
                  <a:pt x="1678503" y="2180331"/>
                  <a:pt x="1685560" y="2189473"/>
                </a:cubicBezTo>
                <a:cubicBezTo>
                  <a:pt x="1698816" y="2222327"/>
                  <a:pt x="1717271" y="2252286"/>
                  <a:pt x="1738986" y="2279821"/>
                </a:cubicBezTo>
                <a:cubicBezTo>
                  <a:pt x="1749840" y="2296655"/>
                  <a:pt x="1762009" y="2312529"/>
                  <a:pt x="1777073" y="2325983"/>
                </a:cubicBezTo>
                <a:cubicBezTo>
                  <a:pt x="1791388" y="2348440"/>
                  <a:pt x="1809396" y="2367767"/>
                  <a:pt x="1829105" y="2385342"/>
                </a:cubicBezTo>
                <a:cubicBezTo>
                  <a:pt x="1851114" y="2408311"/>
                  <a:pt x="1875224" y="2429141"/>
                  <a:pt x="1902499" y="2445897"/>
                </a:cubicBezTo>
                <a:cubicBezTo>
                  <a:pt x="1912700" y="2457010"/>
                  <a:pt x="1924819" y="2465593"/>
                  <a:pt x="1937474" y="2473403"/>
                </a:cubicBezTo>
                <a:cubicBezTo>
                  <a:pt x="2030708" y="2537483"/>
                  <a:pt x="2139390" y="2580318"/>
                  <a:pt x="2256988" y="2593621"/>
                </a:cubicBezTo>
                <a:cubicBezTo>
                  <a:pt x="2274917" y="2596903"/>
                  <a:pt x="2293160" y="2598711"/>
                  <a:pt x="2311639" y="2598935"/>
                </a:cubicBezTo>
                <a:cubicBezTo>
                  <a:pt x="2328376" y="2603332"/>
                  <a:pt x="2345480" y="2603902"/>
                  <a:pt x="2362718" y="2603902"/>
                </a:cubicBezTo>
                <a:cubicBezTo>
                  <a:pt x="2784992" y="2603902"/>
                  <a:pt x="3127312" y="2261582"/>
                  <a:pt x="3127312" y="1839308"/>
                </a:cubicBezTo>
                <a:lnTo>
                  <a:pt x="3127226" y="1837592"/>
                </a:lnTo>
                <a:lnTo>
                  <a:pt x="3125926" y="1834944"/>
                </a:lnTo>
                <a:lnTo>
                  <a:pt x="3126055" y="1496506"/>
                </a:lnTo>
                <a:lnTo>
                  <a:pt x="2732182" y="1498099"/>
                </a:lnTo>
                <a:lnTo>
                  <a:pt x="2732182" y="1311235"/>
                </a:lnTo>
                <a:lnTo>
                  <a:pt x="3295118" y="1311236"/>
                </a:lnTo>
                <a:lnTo>
                  <a:pt x="3294995" y="1834944"/>
                </a:lnTo>
                <a:lnTo>
                  <a:pt x="3294963" y="1834969"/>
                </a:lnTo>
                <a:cubicBezTo>
                  <a:pt x="3295117" y="1835992"/>
                  <a:pt x="3295118" y="1837021"/>
                  <a:pt x="3295118" y="1838050"/>
                </a:cubicBezTo>
                <a:cubicBezTo>
                  <a:pt x="3295118" y="2353000"/>
                  <a:pt x="2877668" y="2770450"/>
                  <a:pt x="2362718" y="2770450"/>
                </a:cubicBezTo>
                <a:cubicBezTo>
                  <a:pt x="1986894" y="2770450"/>
                  <a:pt x="1663004" y="2548097"/>
                  <a:pt x="1516300" y="2227364"/>
                </a:cubicBezTo>
                <a:cubicBezTo>
                  <a:pt x="1369252" y="2548139"/>
                  <a:pt x="1045134" y="2770450"/>
                  <a:pt x="669092" y="2770450"/>
                </a:cubicBezTo>
                <a:lnTo>
                  <a:pt x="666437" y="2770215"/>
                </a:lnTo>
                <a:cubicBezTo>
                  <a:pt x="664886" y="2770446"/>
                  <a:pt x="663334" y="2770450"/>
                  <a:pt x="661780" y="2770450"/>
                </a:cubicBezTo>
                <a:lnTo>
                  <a:pt x="527920" y="2760026"/>
                </a:lnTo>
                <a:lnTo>
                  <a:pt x="504923" y="2756517"/>
                </a:lnTo>
                <a:lnTo>
                  <a:pt x="385809" y="2728190"/>
                </a:lnTo>
                <a:lnTo>
                  <a:pt x="349394" y="2714862"/>
                </a:lnTo>
                <a:lnTo>
                  <a:pt x="277541" y="2685529"/>
                </a:lnTo>
                <a:lnTo>
                  <a:pt x="227732" y="2661535"/>
                </a:lnTo>
                <a:lnTo>
                  <a:pt x="145113" y="2612032"/>
                </a:lnTo>
                <a:cubicBezTo>
                  <a:pt x="92148" y="2576247"/>
                  <a:pt x="43053" y="2535170"/>
                  <a:pt x="0" y="2488231"/>
                </a:cubicBezTo>
                <a:lnTo>
                  <a:pt x="139977" y="2388136"/>
                </a:lnTo>
                <a:cubicBezTo>
                  <a:pt x="144568" y="2393976"/>
                  <a:pt x="150380" y="2398450"/>
                  <a:pt x="156790" y="2402263"/>
                </a:cubicBezTo>
                <a:cubicBezTo>
                  <a:pt x="179806" y="2426657"/>
                  <a:pt x="206098" y="2447440"/>
                  <a:pt x="234009" y="2465975"/>
                </a:cubicBezTo>
                <a:cubicBezTo>
                  <a:pt x="267236" y="2489739"/>
                  <a:pt x="302802" y="2510315"/>
                  <a:pt x="341079" y="2525743"/>
                </a:cubicBezTo>
                <a:cubicBezTo>
                  <a:pt x="343845" y="2528040"/>
                  <a:pt x="347016" y="2529448"/>
                  <a:pt x="350199" y="2530834"/>
                </a:cubicBezTo>
                <a:lnTo>
                  <a:pt x="350199" y="2530786"/>
                </a:lnTo>
                <a:lnTo>
                  <a:pt x="350900" y="2531074"/>
                </a:lnTo>
                <a:cubicBezTo>
                  <a:pt x="378062" y="2545430"/>
                  <a:pt x="406863" y="2556539"/>
                  <a:pt x="437564" y="2562354"/>
                </a:cubicBezTo>
                <a:lnTo>
                  <a:pt x="507642" y="2584217"/>
                </a:lnTo>
                <a:lnTo>
                  <a:pt x="508405" y="2584344"/>
                </a:lnTo>
                <a:cubicBezTo>
                  <a:pt x="526568" y="2588684"/>
                  <a:pt x="545072" y="2591897"/>
                  <a:pt x="563907" y="2593581"/>
                </a:cubicBezTo>
                <a:lnTo>
                  <a:pt x="565876" y="2593909"/>
                </a:lnTo>
                <a:lnTo>
                  <a:pt x="585645" y="2596939"/>
                </a:lnTo>
                <a:lnTo>
                  <a:pt x="586054" y="2596961"/>
                </a:lnTo>
                <a:cubicBezTo>
                  <a:pt x="612009" y="2599859"/>
                  <a:pt x="638368" y="2601304"/>
                  <a:pt x="665049" y="2601270"/>
                </a:cubicBezTo>
                <a:cubicBezTo>
                  <a:pt x="665761" y="2601385"/>
                  <a:pt x="666473" y="2601386"/>
                  <a:pt x="667185" y="2601386"/>
                </a:cubicBezTo>
                <a:lnTo>
                  <a:pt x="667271" y="2601382"/>
                </a:lnTo>
                <a:lnTo>
                  <a:pt x="667356" y="2601386"/>
                </a:lnTo>
                <a:cubicBezTo>
                  <a:pt x="1089630" y="2601386"/>
                  <a:pt x="1431950" y="2259066"/>
                  <a:pt x="1431950" y="1836792"/>
                </a:cubicBezTo>
                <a:cubicBezTo>
                  <a:pt x="1431950" y="1414518"/>
                  <a:pt x="1089630" y="1072198"/>
                  <a:pt x="667356" y="1072198"/>
                </a:cubicBezTo>
                <a:cubicBezTo>
                  <a:pt x="667328" y="1072198"/>
                  <a:pt x="667299" y="1072198"/>
                  <a:pt x="667271" y="1072202"/>
                </a:cubicBezTo>
                <a:cubicBezTo>
                  <a:pt x="667242" y="1072198"/>
                  <a:pt x="667214" y="1072198"/>
                  <a:pt x="667185" y="1072198"/>
                </a:cubicBezTo>
                <a:lnTo>
                  <a:pt x="665047" y="1072315"/>
                </a:lnTo>
                <a:cubicBezTo>
                  <a:pt x="632355" y="1072298"/>
                  <a:pt x="600146" y="1074447"/>
                  <a:pt x="568640" y="1079281"/>
                </a:cubicBezTo>
                <a:lnTo>
                  <a:pt x="565165" y="1079794"/>
                </a:lnTo>
                <a:lnTo>
                  <a:pt x="563954" y="1079996"/>
                </a:lnTo>
                <a:cubicBezTo>
                  <a:pt x="529691" y="1083768"/>
                  <a:pt x="496260" y="1090644"/>
                  <a:pt x="464587" y="1102842"/>
                </a:cubicBezTo>
                <a:lnTo>
                  <a:pt x="400756" y="1122050"/>
                </a:lnTo>
                <a:lnTo>
                  <a:pt x="394693" y="1124538"/>
                </a:lnTo>
                <a:cubicBezTo>
                  <a:pt x="302452" y="1157579"/>
                  <a:pt x="219425" y="1209687"/>
                  <a:pt x="150313" y="1276665"/>
                </a:cubicBezTo>
                <a:cubicBezTo>
                  <a:pt x="146924" y="1278584"/>
                  <a:pt x="144184" y="1281194"/>
                  <a:pt x="141464" y="1283825"/>
                </a:cubicBezTo>
                <a:lnTo>
                  <a:pt x="141523" y="1279930"/>
                </a:lnTo>
                <a:lnTo>
                  <a:pt x="7914" y="1183247"/>
                </a:lnTo>
                <a:lnTo>
                  <a:pt x="5589" y="1183247"/>
                </a:lnTo>
                <a:lnTo>
                  <a:pt x="3633" y="1181747"/>
                </a:lnTo>
                <a:lnTo>
                  <a:pt x="6235" y="1179460"/>
                </a:lnTo>
                <a:lnTo>
                  <a:pt x="4814" y="1178366"/>
                </a:lnTo>
                <a:lnTo>
                  <a:pt x="151051" y="4372"/>
                </a:lnTo>
                <a:lnTo>
                  <a:pt x="1603197" y="4372"/>
                </a:lnTo>
                <a:lnTo>
                  <a:pt x="1603197" y="148983"/>
                </a:lnTo>
                <a:lnTo>
                  <a:pt x="1603197" y="159723"/>
                </a:lnTo>
                <a:lnTo>
                  <a:pt x="1603197" y="194702"/>
                </a:lnTo>
                <a:lnTo>
                  <a:pt x="298562" y="194702"/>
                </a:lnTo>
                <a:lnTo>
                  <a:pt x="177999" y="1045273"/>
                </a:lnTo>
                <a:cubicBezTo>
                  <a:pt x="231345" y="1010622"/>
                  <a:pt x="288817" y="982062"/>
                  <a:pt x="350199" y="962098"/>
                </a:cubicBezTo>
                <a:lnTo>
                  <a:pt x="350199" y="960208"/>
                </a:lnTo>
                <a:lnTo>
                  <a:pt x="417599" y="941669"/>
                </a:lnTo>
                <a:cubicBezTo>
                  <a:pt x="436237" y="932886"/>
                  <a:pt x="456070" y="928083"/>
                  <a:pt x="476140" y="923925"/>
                </a:cubicBezTo>
                <a:lnTo>
                  <a:pt x="480783" y="922916"/>
                </a:lnTo>
                <a:lnTo>
                  <a:pt x="491998" y="921204"/>
                </a:lnTo>
                <a:cubicBezTo>
                  <a:pt x="504102" y="917720"/>
                  <a:pt x="516505" y="915564"/>
                  <a:pt x="529273" y="915515"/>
                </a:cubicBezTo>
                <a:lnTo>
                  <a:pt x="565313" y="910015"/>
                </a:lnTo>
                <a:lnTo>
                  <a:pt x="596757" y="907772"/>
                </a:lnTo>
                <a:lnTo>
                  <a:pt x="643195" y="905427"/>
                </a:lnTo>
                <a:cubicBezTo>
                  <a:pt x="651763" y="903252"/>
                  <a:pt x="660414" y="903134"/>
                  <a:pt x="669092" y="903134"/>
                </a:cubicBezTo>
                <a:cubicBezTo>
                  <a:pt x="984078" y="903134"/>
                  <a:pt x="1262632" y="1059114"/>
                  <a:pt x="1430318" y="1299046"/>
                </a:cubicBezTo>
                <a:lnTo>
                  <a:pt x="1430318" y="897053"/>
                </a:lnTo>
                <a:cubicBezTo>
                  <a:pt x="1443206" y="717355"/>
                  <a:pt x="1453364" y="686331"/>
                  <a:pt x="1494264" y="586547"/>
                </a:cubicBezTo>
                <a:lnTo>
                  <a:pt x="1496753" y="586547"/>
                </a:lnTo>
                <a:cubicBezTo>
                  <a:pt x="1633481" y="242429"/>
                  <a:pt x="1969224" y="0"/>
                  <a:pt x="2361459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contourClr>
              <a:schemeClr val="accent1">
                <a:shade val="70000"/>
                <a:satMod val="105000"/>
              </a:schemeClr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8654411-1F4B-4920-B13B-A059F645A439}"/>
              </a:ext>
            </a:extLst>
          </p:cNvPr>
          <p:cNvGraphicFramePr>
            <a:graphicFrameLocks noGrp="1"/>
          </p:cNvGraphicFramePr>
          <p:nvPr/>
        </p:nvGraphicFramePr>
        <p:xfrm>
          <a:off x="1171141" y="676029"/>
          <a:ext cx="7634559" cy="564912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1866258">
                  <a:extLst>
                    <a:ext uri="{9D8B030D-6E8A-4147-A177-3AD203B41FA5}">
                      <a16:colId xmlns:a16="http://schemas.microsoft.com/office/drawing/2014/main" val="2346058453"/>
                    </a:ext>
                  </a:extLst>
                </a:gridCol>
                <a:gridCol w="1669774">
                  <a:extLst>
                    <a:ext uri="{9D8B030D-6E8A-4147-A177-3AD203B41FA5}">
                      <a16:colId xmlns:a16="http://schemas.microsoft.com/office/drawing/2014/main" val="2064074146"/>
                    </a:ext>
                  </a:extLst>
                </a:gridCol>
                <a:gridCol w="2401294">
                  <a:extLst>
                    <a:ext uri="{9D8B030D-6E8A-4147-A177-3AD203B41FA5}">
                      <a16:colId xmlns:a16="http://schemas.microsoft.com/office/drawing/2014/main" val="862469373"/>
                    </a:ext>
                  </a:extLst>
                </a:gridCol>
                <a:gridCol w="1697233">
                  <a:extLst>
                    <a:ext uri="{9D8B030D-6E8A-4147-A177-3AD203B41FA5}">
                      <a16:colId xmlns:a16="http://schemas.microsoft.com/office/drawing/2014/main" val="1982241857"/>
                    </a:ext>
                  </a:extLst>
                </a:gridCol>
              </a:tblGrid>
              <a:tr h="564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测试和试点第一轮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（单厂家</a:t>
                      </a:r>
                      <a:r>
                        <a:rPr kumimoji="0" lang="en-US" altLang="zh-CN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E2E</a:t>
                      </a: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功能验证）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测试和试点第二轮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（跨系统，多厂家</a:t>
                      </a:r>
                      <a:r>
                        <a:rPr kumimoji="0" lang="en-US" altLang="zh-CN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IOT</a:t>
                      </a: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、性能及支撑系统验证）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</a:txBody>
                  <a:tcPr marL="72000" marR="36000" marT="36000" marB="36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商用部署第一轮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（</a:t>
                      </a:r>
                      <a:r>
                        <a:rPr kumimoji="0" lang="en-US" altLang="zh-CN" sz="11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eMBB</a:t>
                      </a: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及基本功能）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</a:txBody>
                  <a:tcPr marL="72000" marR="36000" marT="36000" marB="36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商用部署第二轮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Nokia Pure Text Light"/>
                        </a:rPr>
                        <a:t>（多切片类型，深化网络转型）</a:t>
                      </a:r>
                      <a:endParaRPr kumimoji="0" lang="en-US" altLang="zh-CN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Nokia Pure Text Light"/>
                      </a:endParaRPr>
                    </a:p>
                  </a:txBody>
                  <a:tcPr marL="72000" marR="36000" marT="36000" marB="36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9568291"/>
                  </a:ext>
                </a:extLst>
              </a:tr>
            </a:tbl>
          </a:graphicData>
        </a:graphic>
      </p:graphicFrame>
      <p:sp>
        <p:nvSpPr>
          <p:cNvPr id="162" name="Eingekerbter Richtungspfeil 15">
            <a:extLst>
              <a:ext uri="{FF2B5EF4-FFF2-40B4-BE49-F238E27FC236}">
                <a16:creationId xmlns:a16="http://schemas.microsoft.com/office/drawing/2014/main" id="{F67302C9-9213-4C3B-88D4-D2AEA35B6B6C}"/>
              </a:ext>
            </a:extLst>
          </p:cNvPr>
          <p:cNvSpPr/>
          <p:nvPr/>
        </p:nvSpPr>
        <p:spPr bwMode="auto">
          <a:xfrm>
            <a:off x="4706837" y="1244108"/>
            <a:ext cx="2135226" cy="178472"/>
          </a:xfrm>
          <a:prstGeom prst="chevron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Nokia Pure Text"/>
                <a:ea typeface="+mn-ea"/>
                <a:cs typeface="+mn-cs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177066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9" name="图片 3" descr="星点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86" y="166846"/>
            <a:ext cx="8848249" cy="3336608"/>
          </a:xfrm>
          <a:prstGeom prst="rect">
            <a:avLst/>
          </a:prstGeom>
        </p:spPr>
      </p:pic>
      <p:pic>
        <p:nvPicPr>
          <p:cNvPr id="2097161" name="图片 7" descr="5ad607622be26"/>
          <p:cNvPicPr>
            <a:picLocks noChangeAspect="1"/>
          </p:cNvPicPr>
          <p:nvPr/>
        </p:nvPicPr>
        <p:blipFill rotWithShape="1">
          <a:blip r:embed="rId4"/>
          <a:srcRect r="50232"/>
          <a:stretch/>
        </p:blipFill>
        <p:spPr>
          <a:xfrm>
            <a:off x="-42052" y="2738041"/>
            <a:ext cx="2177556" cy="2151074"/>
          </a:xfrm>
          <a:prstGeom prst="rect">
            <a:avLst/>
          </a:prstGeom>
        </p:spPr>
      </p:pic>
      <p:grpSp>
        <p:nvGrpSpPr>
          <p:cNvPr id="56" name="组合 20"/>
          <p:cNvGrpSpPr/>
          <p:nvPr/>
        </p:nvGrpSpPr>
        <p:grpSpPr>
          <a:xfrm>
            <a:off x="4193381" y="4500086"/>
            <a:ext cx="833438" cy="141923"/>
            <a:chOff x="6484" y="9300"/>
            <a:chExt cx="1750" cy="298"/>
          </a:xfrm>
        </p:grpSpPr>
        <p:sp>
          <p:nvSpPr>
            <p:cNvPr id="1048623" name="椭圆 16"/>
            <p:cNvSpPr/>
            <p:nvPr/>
          </p:nvSpPr>
          <p:spPr>
            <a:xfrm>
              <a:off x="7217" y="9300"/>
              <a:ext cx="298" cy="29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 dirty="0">
                <a:solidFill>
                  <a:schemeClr val="bg2"/>
                </a:solidFill>
                <a:ea typeface="印品黑体" panose="00000500000000000000" pitchFamily="2" charset="-122"/>
              </a:endParaRPr>
            </a:p>
          </p:txBody>
        </p:sp>
        <p:sp>
          <p:nvSpPr>
            <p:cNvPr id="1048624" name="椭圆 18"/>
            <p:cNvSpPr/>
            <p:nvPr/>
          </p:nvSpPr>
          <p:spPr>
            <a:xfrm>
              <a:off x="7936" y="9300"/>
              <a:ext cx="298" cy="29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 dirty="0">
                <a:solidFill>
                  <a:schemeClr val="bg2"/>
                </a:solidFill>
                <a:ea typeface="印品黑体" panose="00000500000000000000" pitchFamily="2" charset="-122"/>
              </a:endParaRPr>
            </a:p>
          </p:txBody>
        </p:sp>
        <p:sp>
          <p:nvSpPr>
            <p:cNvPr id="1048625" name="椭圆 19"/>
            <p:cNvSpPr/>
            <p:nvPr/>
          </p:nvSpPr>
          <p:spPr>
            <a:xfrm>
              <a:off x="6484" y="9300"/>
              <a:ext cx="298" cy="298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 dirty="0">
                <a:solidFill>
                  <a:schemeClr val="bg2"/>
                </a:solidFill>
                <a:ea typeface="印品黑体" panose="00000500000000000000" pitchFamily="2" charset="-122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8E80C51-3E15-4402-B476-5311FBB65469}"/>
              </a:ext>
            </a:extLst>
          </p:cNvPr>
          <p:cNvGrpSpPr/>
          <p:nvPr/>
        </p:nvGrpSpPr>
        <p:grpSpPr>
          <a:xfrm>
            <a:off x="169986" y="630471"/>
            <a:ext cx="1623730" cy="1754590"/>
            <a:chOff x="406823" y="840627"/>
            <a:chExt cx="1984797" cy="233945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3CF08EF-4071-48F3-8316-AA881BD0A284}"/>
                </a:ext>
              </a:extLst>
            </p:cNvPr>
            <p:cNvGrpSpPr/>
            <p:nvPr/>
          </p:nvGrpSpPr>
          <p:grpSpPr>
            <a:xfrm>
              <a:off x="406823" y="1386099"/>
              <a:ext cx="1984797" cy="1793981"/>
              <a:chOff x="332951" y="643588"/>
              <a:chExt cx="1984797" cy="1793981"/>
            </a:xfrm>
          </p:grpSpPr>
          <p:sp>
            <p:nvSpPr>
              <p:cNvPr id="1048621" name="文本框 5"/>
              <p:cNvSpPr txBox="1"/>
              <p:nvPr/>
            </p:nvSpPr>
            <p:spPr>
              <a:xfrm>
                <a:off x="429260" y="801915"/>
                <a:ext cx="1888488" cy="11622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1013" dirty="0">
                    <a:solidFill>
                      <a:schemeClr val="bg2"/>
                    </a:solidFill>
                  </a:rPr>
                  <a:t>5G</a:t>
                </a:r>
                <a:r>
                  <a:rPr kumimoji="1" lang="zh-CN" altLang="en-US" sz="1013" dirty="0">
                    <a:solidFill>
                      <a:schemeClr val="bg2"/>
                    </a:solidFill>
                  </a:rPr>
                  <a:t> 网络视图</a:t>
                </a:r>
                <a:endParaRPr kumimoji="1" lang="en-US" altLang="zh-CN" sz="1013" dirty="0">
                  <a:solidFill>
                    <a:schemeClr val="bg2"/>
                  </a:solidFill>
                </a:endParaRPr>
              </a:p>
              <a:p>
                <a:r>
                  <a:rPr kumimoji="1" lang="en-US" altLang="zh-CN" sz="1013" dirty="0">
                    <a:solidFill>
                      <a:schemeClr val="bg2"/>
                    </a:solidFill>
                  </a:rPr>
                  <a:t>5G </a:t>
                </a:r>
                <a:r>
                  <a:rPr kumimoji="1" lang="zh-CN" altLang="en-US" sz="1013" dirty="0">
                    <a:solidFill>
                      <a:schemeClr val="bg2"/>
                    </a:solidFill>
                  </a:rPr>
                  <a:t>信令回溯</a:t>
                </a:r>
                <a:endParaRPr kumimoji="1" lang="en-US" altLang="zh-CN" sz="1013" dirty="0">
                  <a:solidFill>
                    <a:schemeClr val="bg2"/>
                  </a:solidFill>
                </a:endParaRPr>
              </a:p>
              <a:p>
                <a:r>
                  <a:rPr kumimoji="1" lang="en-US" altLang="zh-CN" sz="1013" dirty="0">
                    <a:solidFill>
                      <a:schemeClr val="bg2"/>
                    </a:solidFill>
                  </a:rPr>
                  <a:t>5G</a:t>
                </a:r>
                <a:r>
                  <a:rPr kumimoji="1" lang="zh-CN" altLang="en-US" sz="1013" dirty="0">
                    <a:solidFill>
                      <a:schemeClr val="bg2"/>
                    </a:solidFill>
                  </a:rPr>
                  <a:t>用户回落定界</a:t>
                </a:r>
                <a:endParaRPr kumimoji="1" lang="en-US" altLang="zh-CN" sz="1013" dirty="0">
                  <a:solidFill>
                    <a:schemeClr val="bg2"/>
                  </a:solidFill>
                </a:endParaRPr>
              </a:p>
              <a:p>
                <a:r>
                  <a:rPr kumimoji="1" lang="en-US" altLang="zh-CN" sz="1013" dirty="0">
                    <a:solidFill>
                      <a:schemeClr val="bg2"/>
                    </a:solidFill>
                  </a:rPr>
                  <a:t>5G</a:t>
                </a:r>
                <a:r>
                  <a:rPr kumimoji="1" lang="zh-CN" altLang="en-US" sz="1013" dirty="0">
                    <a:solidFill>
                      <a:schemeClr val="bg2"/>
                    </a:solidFill>
                  </a:rPr>
                  <a:t> 指标统计</a:t>
                </a:r>
                <a:endParaRPr kumimoji="1" lang="en-US" altLang="zh-CN" sz="1013" dirty="0">
                  <a:solidFill>
                    <a:schemeClr val="bg2"/>
                  </a:solidFill>
                </a:endParaRPr>
              </a:p>
              <a:p>
                <a:r>
                  <a:rPr kumimoji="1" lang="en-US" altLang="zh-CN" sz="1013" dirty="0">
                    <a:solidFill>
                      <a:schemeClr val="bg2"/>
                    </a:solidFill>
                  </a:rPr>
                  <a:t>5G </a:t>
                </a:r>
                <a:r>
                  <a:rPr kumimoji="1" lang="zh-CN" altLang="en-US" sz="1013" dirty="0">
                    <a:solidFill>
                      <a:schemeClr val="bg2"/>
                    </a:solidFill>
                  </a:rPr>
                  <a:t>详单查询</a:t>
                </a:r>
                <a:endParaRPr kumimoji="1" lang="en-US" altLang="zh-CN" sz="1013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48622" name="双括号 6"/>
              <p:cNvSpPr/>
              <p:nvPr/>
            </p:nvSpPr>
            <p:spPr>
              <a:xfrm>
                <a:off x="332951" y="643588"/>
                <a:ext cx="1984797" cy="1793981"/>
              </a:xfrm>
              <a:prstGeom prst="bracketPair">
                <a:avLst/>
              </a:prstGeom>
              <a:ln w="47625" cmpd="sng">
                <a:solidFill>
                  <a:srgbClr val="44B9F8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 dirty="0">
                  <a:solidFill>
                    <a:schemeClr val="bg2"/>
                  </a:solidFill>
                  <a:ea typeface="印品黑体" panose="00000500000000000000" pitchFamily="2" charset="-122"/>
                </a:endParaRP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6CB6867-5431-4020-B0A7-7917777E6CBE}"/>
                </a:ext>
              </a:extLst>
            </p:cNvPr>
            <p:cNvSpPr txBox="1"/>
            <p:nvPr/>
          </p:nvSpPr>
          <p:spPr>
            <a:xfrm>
              <a:off x="770287" y="840627"/>
              <a:ext cx="1211339" cy="53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013" dirty="0">
                  <a:solidFill>
                    <a:schemeClr val="bg2"/>
                  </a:solidFill>
                </a:rPr>
                <a:t>NSA</a:t>
              </a:r>
              <a:r>
                <a:rPr lang="zh-CN" altLang="en-US" sz="1013" dirty="0">
                  <a:solidFill>
                    <a:schemeClr val="bg2"/>
                  </a:solidFill>
                </a:rPr>
                <a:t>基本功能</a:t>
              </a:r>
              <a:endParaRPr lang="en-US" altLang="zh-CN" sz="1013" dirty="0">
                <a:solidFill>
                  <a:schemeClr val="bg2"/>
                </a:solidFill>
              </a:endParaRPr>
            </a:p>
            <a:p>
              <a:pPr algn="ctr"/>
              <a:r>
                <a:rPr lang="en-US" sz="1013" dirty="0">
                  <a:solidFill>
                    <a:schemeClr val="bg2"/>
                  </a:solidFill>
                </a:rPr>
                <a:t> </a:t>
              </a:r>
              <a:r>
                <a:rPr lang="zh-CN" altLang="en-US" sz="1013" dirty="0">
                  <a:solidFill>
                    <a:schemeClr val="bg2"/>
                  </a:solidFill>
                </a:rPr>
                <a:t>（</a:t>
              </a:r>
              <a:r>
                <a:rPr lang="en-US" altLang="zh-CN" sz="1013" dirty="0">
                  <a:solidFill>
                    <a:schemeClr val="bg2"/>
                  </a:solidFill>
                </a:rPr>
                <a:t>~ 2019 P8)</a:t>
              </a:r>
              <a:endParaRPr lang="en-US" sz="1013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89F50D8-7592-4717-88B8-5FF407961ACB}"/>
              </a:ext>
            </a:extLst>
          </p:cNvPr>
          <p:cNvGrpSpPr/>
          <p:nvPr/>
        </p:nvGrpSpPr>
        <p:grpSpPr>
          <a:xfrm>
            <a:off x="2200626" y="1623374"/>
            <a:ext cx="2134678" cy="1102614"/>
            <a:chOff x="332951" y="643588"/>
            <a:chExt cx="2325489" cy="1793981"/>
          </a:xfrm>
        </p:grpSpPr>
        <p:sp>
          <p:nvSpPr>
            <p:cNvPr id="18" name="文本框 5">
              <a:extLst>
                <a:ext uri="{FF2B5EF4-FFF2-40B4-BE49-F238E27FC236}">
                  <a16:creationId xmlns:a16="http://schemas.microsoft.com/office/drawing/2014/main" id="{90F8D7C5-E037-4A70-9397-6600E08C157D}"/>
                </a:ext>
              </a:extLst>
            </p:cNvPr>
            <p:cNvSpPr txBox="1"/>
            <p:nvPr/>
          </p:nvSpPr>
          <p:spPr>
            <a:xfrm>
              <a:off x="429260" y="801915"/>
              <a:ext cx="1888488" cy="11646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 网络视图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信令回溯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端到端问题定界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用户投诉诊断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</p:txBody>
        </p:sp>
        <p:sp>
          <p:nvSpPr>
            <p:cNvPr id="19" name="双括号 6">
              <a:extLst>
                <a:ext uri="{FF2B5EF4-FFF2-40B4-BE49-F238E27FC236}">
                  <a16:creationId xmlns:a16="http://schemas.microsoft.com/office/drawing/2014/main" id="{36288F29-44AE-4896-A446-5DDEAE3F872E}"/>
                </a:ext>
              </a:extLst>
            </p:cNvPr>
            <p:cNvSpPr/>
            <p:nvPr/>
          </p:nvSpPr>
          <p:spPr>
            <a:xfrm>
              <a:off x="332951" y="643588"/>
              <a:ext cx="2325489" cy="1793981"/>
            </a:xfrm>
            <a:prstGeom prst="bracketPair">
              <a:avLst/>
            </a:prstGeom>
            <a:ln w="47625" cmpd="sng">
              <a:solidFill>
                <a:srgbClr val="44B9F8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 dirty="0">
                <a:solidFill>
                  <a:schemeClr val="bg2"/>
                </a:solidFill>
                <a:ea typeface="印品黑体" panose="00000500000000000000" pitchFamily="2" charset="-122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0DCE5799-54E1-4ADA-992F-851D27638C8C}"/>
              </a:ext>
            </a:extLst>
          </p:cNvPr>
          <p:cNvSpPr txBox="1"/>
          <p:nvPr/>
        </p:nvSpPr>
        <p:spPr>
          <a:xfrm>
            <a:off x="5518479" y="1337226"/>
            <a:ext cx="2047715" cy="559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13" dirty="0">
                <a:solidFill>
                  <a:schemeClr val="bg2"/>
                </a:solidFill>
              </a:rPr>
              <a:t>DO for 5G SA</a:t>
            </a:r>
            <a:r>
              <a:rPr lang="zh-CN" altLang="en-US" sz="1013" dirty="0">
                <a:solidFill>
                  <a:schemeClr val="bg2"/>
                </a:solidFill>
              </a:rPr>
              <a:t>场景</a:t>
            </a:r>
            <a:endParaRPr lang="en-US" altLang="zh-CN" sz="1013" dirty="0">
              <a:solidFill>
                <a:schemeClr val="bg2"/>
              </a:solidFill>
            </a:endParaRPr>
          </a:p>
          <a:p>
            <a:pPr algn="ctr"/>
            <a:r>
              <a:rPr lang="zh-CN" altLang="en-US" sz="1013" dirty="0">
                <a:solidFill>
                  <a:schemeClr val="bg2"/>
                </a:solidFill>
              </a:rPr>
              <a:t>统一版本目标</a:t>
            </a:r>
            <a:endParaRPr lang="en-US" sz="1013" dirty="0">
              <a:solidFill>
                <a:schemeClr val="bg2"/>
              </a:solidFill>
            </a:endParaRPr>
          </a:p>
          <a:p>
            <a:pPr algn="ctr"/>
            <a:endParaRPr lang="en-US" sz="1013" dirty="0">
              <a:solidFill>
                <a:schemeClr val="bg2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82BBEEF-A59D-4F8B-8DAC-EFD629EBFDA1}"/>
              </a:ext>
            </a:extLst>
          </p:cNvPr>
          <p:cNvGrpSpPr/>
          <p:nvPr/>
        </p:nvGrpSpPr>
        <p:grpSpPr>
          <a:xfrm>
            <a:off x="2235566" y="3644225"/>
            <a:ext cx="2069909" cy="1124899"/>
            <a:chOff x="332951" y="643588"/>
            <a:chExt cx="1984797" cy="1830240"/>
          </a:xfrm>
        </p:grpSpPr>
        <p:sp>
          <p:nvSpPr>
            <p:cNvPr id="22" name="文本框 5">
              <a:extLst>
                <a:ext uri="{FF2B5EF4-FFF2-40B4-BE49-F238E27FC236}">
                  <a16:creationId xmlns:a16="http://schemas.microsoft.com/office/drawing/2014/main" id="{3159C908-9639-4FAD-A51F-D3D0DF03C490}"/>
                </a:ext>
              </a:extLst>
            </p:cNvPr>
            <p:cNvSpPr txBox="1"/>
            <p:nvPr/>
          </p:nvSpPr>
          <p:spPr>
            <a:xfrm>
              <a:off x="429260" y="801915"/>
              <a:ext cx="1888488" cy="1671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 时延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终端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en-US" altLang="zh-CN" sz="1013" dirty="0" err="1">
                  <a:solidFill>
                    <a:schemeClr val="bg2"/>
                  </a:solidFill>
                </a:rPr>
                <a:t>eMBB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高清视频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4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用户迁移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UC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端到端保障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 </a:t>
              </a:r>
              <a:r>
                <a:rPr kumimoji="1" lang="en-US" altLang="zh-CN" sz="1013" dirty="0">
                  <a:solidFill>
                    <a:schemeClr val="bg2"/>
                  </a:solidFill>
                </a:rPr>
                <a:t>NFV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定位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</p:txBody>
        </p:sp>
        <p:sp>
          <p:nvSpPr>
            <p:cNvPr id="23" name="双括号 6">
              <a:extLst>
                <a:ext uri="{FF2B5EF4-FFF2-40B4-BE49-F238E27FC236}">
                  <a16:creationId xmlns:a16="http://schemas.microsoft.com/office/drawing/2014/main" id="{17F14397-1395-44B9-AB20-BBDC5FDE4CC9}"/>
                </a:ext>
              </a:extLst>
            </p:cNvPr>
            <p:cNvSpPr/>
            <p:nvPr/>
          </p:nvSpPr>
          <p:spPr>
            <a:xfrm>
              <a:off x="332951" y="643588"/>
              <a:ext cx="1984797" cy="1793981"/>
            </a:xfrm>
            <a:prstGeom prst="bracketPair">
              <a:avLst/>
            </a:prstGeom>
            <a:ln w="47625" cmpd="sng">
              <a:solidFill>
                <a:srgbClr val="44B9F8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 dirty="0">
                <a:solidFill>
                  <a:schemeClr val="bg2"/>
                </a:solidFill>
                <a:ea typeface="印品黑体" panose="00000500000000000000" pitchFamily="2" charset="-122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5F64F80-A4A3-47BD-ABB4-330C381279A8}"/>
              </a:ext>
            </a:extLst>
          </p:cNvPr>
          <p:cNvSpPr txBox="1"/>
          <p:nvPr/>
        </p:nvSpPr>
        <p:spPr>
          <a:xfrm>
            <a:off x="2206445" y="3244743"/>
            <a:ext cx="2047715" cy="559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13" dirty="0">
                <a:solidFill>
                  <a:schemeClr val="bg2"/>
                </a:solidFill>
              </a:rPr>
              <a:t>DO for 5G NSA</a:t>
            </a:r>
            <a:r>
              <a:rPr lang="zh-CN" altLang="en-US" sz="1013" dirty="0">
                <a:solidFill>
                  <a:schemeClr val="bg2"/>
                </a:solidFill>
              </a:rPr>
              <a:t>场景</a:t>
            </a:r>
            <a:endParaRPr lang="en-US" altLang="zh-CN" sz="1013" dirty="0">
              <a:solidFill>
                <a:schemeClr val="bg2"/>
              </a:solidFill>
            </a:endParaRPr>
          </a:p>
          <a:p>
            <a:pPr algn="ctr"/>
            <a:r>
              <a:rPr lang="zh-CN" altLang="en-US" sz="1013" dirty="0">
                <a:solidFill>
                  <a:schemeClr val="bg2"/>
                </a:solidFill>
              </a:rPr>
              <a:t>统一版本扩展</a:t>
            </a:r>
            <a:endParaRPr lang="en-US" sz="1013" dirty="0">
              <a:solidFill>
                <a:schemeClr val="bg2"/>
              </a:solidFill>
            </a:endParaRPr>
          </a:p>
          <a:p>
            <a:pPr algn="ctr"/>
            <a:endParaRPr lang="en-US" sz="1013" dirty="0">
              <a:solidFill>
                <a:schemeClr val="bg2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49CF6F96-699C-4694-8032-8C0D03DEACDD}"/>
              </a:ext>
            </a:extLst>
          </p:cNvPr>
          <p:cNvCxnSpPr/>
          <p:nvPr/>
        </p:nvCxnSpPr>
        <p:spPr>
          <a:xfrm>
            <a:off x="1314450" y="1301750"/>
            <a:ext cx="1021556" cy="533400"/>
          </a:xfrm>
          <a:prstGeom prst="bentConnector3">
            <a:avLst>
              <a:gd name="adj1" fmla="val 67405"/>
            </a:avLst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34966A94-7A1B-4B6F-B053-63169B3E1F4A}"/>
              </a:ext>
            </a:extLst>
          </p:cNvPr>
          <p:cNvCxnSpPr>
            <a:cxnSpLocks/>
          </p:cNvCxnSpPr>
          <p:nvPr/>
        </p:nvCxnSpPr>
        <p:spPr>
          <a:xfrm>
            <a:off x="1264920" y="1511301"/>
            <a:ext cx="1071086" cy="579179"/>
          </a:xfrm>
          <a:prstGeom prst="bentConnector3">
            <a:avLst>
              <a:gd name="adj1" fmla="val 57707"/>
            </a:avLst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ight Brace 11">
            <a:extLst>
              <a:ext uri="{FF2B5EF4-FFF2-40B4-BE49-F238E27FC236}">
                <a16:creationId xmlns:a16="http://schemas.microsoft.com/office/drawing/2014/main" id="{492AB480-A6FE-4ED6-A6A6-7E7A30FDFD20}"/>
              </a:ext>
            </a:extLst>
          </p:cNvPr>
          <p:cNvSpPr/>
          <p:nvPr/>
        </p:nvSpPr>
        <p:spPr>
          <a:xfrm rot="10800000" flipH="1">
            <a:off x="1602740" y="1623374"/>
            <a:ext cx="88407" cy="583347"/>
          </a:xfrm>
          <a:prstGeom prst="rightBrac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bg2"/>
              </a:solidFill>
            </a:endParaRP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6A79F0A9-88BA-48DA-8EC4-E0E3B9F0C4C0}"/>
              </a:ext>
            </a:extLst>
          </p:cNvPr>
          <p:cNvCxnSpPr>
            <a:stCxn id="12" idx="1"/>
          </p:cNvCxnSpPr>
          <p:nvPr/>
        </p:nvCxnSpPr>
        <p:spPr>
          <a:xfrm rot="10800000" flipH="1" flipV="1">
            <a:off x="1691147" y="1915048"/>
            <a:ext cx="644859" cy="334757"/>
          </a:xfrm>
          <a:prstGeom prst="bentConnector3">
            <a:avLst>
              <a:gd name="adj1" fmla="val 24694"/>
            </a:avLst>
          </a:prstGeom>
          <a:ln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841EE70-8BEC-4C48-95B8-4CFF81997587}"/>
              </a:ext>
            </a:extLst>
          </p:cNvPr>
          <p:cNvGrpSpPr/>
          <p:nvPr/>
        </p:nvGrpSpPr>
        <p:grpSpPr>
          <a:xfrm>
            <a:off x="5308600" y="1669895"/>
            <a:ext cx="2350432" cy="3076944"/>
            <a:chOff x="332951" y="643588"/>
            <a:chExt cx="2325489" cy="1793981"/>
          </a:xfrm>
        </p:grpSpPr>
        <p:sp>
          <p:nvSpPr>
            <p:cNvPr id="38" name="文本框 5">
              <a:extLst>
                <a:ext uri="{FF2B5EF4-FFF2-40B4-BE49-F238E27FC236}">
                  <a16:creationId xmlns:a16="http://schemas.microsoft.com/office/drawing/2014/main" id="{4C76BE66-1AAE-4869-92B1-3C18BD023EB6}"/>
                </a:ext>
              </a:extLst>
            </p:cNvPr>
            <p:cNvSpPr txBox="1"/>
            <p:nvPr/>
          </p:nvSpPr>
          <p:spPr>
            <a:xfrm>
              <a:off x="429260" y="801915"/>
              <a:ext cx="2073965" cy="10535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 网络视图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信令回溯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端到端问题定界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用户投诉诊断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 时延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终端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4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用户迁移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UC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端到端保障</a:t>
              </a:r>
              <a:r>
                <a:rPr kumimoji="1" lang="en-US" altLang="zh-CN" sz="1013" dirty="0">
                  <a:solidFill>
                    <a:schemeClr val="bg2"/>
                  </a:solidFill>
                </a:rPr>
                <a:t>1</a:t>
              </a: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UC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端到端保障</a:t>
              </a:r>
              <a:r>
                <a:rPr kumimoji="1" lang="en-US" altLang="zh-CN" sz="1013" dirty="0">
                  <a:solidFill>
                    <a:schemeClr val="bg2"/>
                  </a:solidFill>
                </a:rPr>
                <a:t>2</a:t>
              </a: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UC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端到端保障</a:t>
              </a:r>
              <a:r>
                <a:rPr kumimoji="1" lang="en-US" altLang="zh-CN" sz="1013" dirty="0">
                  <a:solidFill>
                    <a:schemeClr val="bg2"/>
                  </a:solidFill>
                </a:rPr>
                <a:t>3</a:t>
              </a:r>
            </a:p>
            <a:p>
              <a:r>
                <a:rPr kumimoji="1" lang="en-US" altLang="zh-CN" sz="1013" dirty="0">
                  <a:solidFill>
                    <a:schemeClr val="bg2"/>
                  </a:solidFill>
                </a:rPr>
                <a:t>5G </a:t>
              </a:r>
              <a:r>
                <a:rPr kumimoji="1" lang="zh-CN" altLang="en-US" sz="1013" dirty="0">
                  <a:solidFill>
                    <a:schemeClr val="bg2"/>
                  </a:solidFill>
                </a:rPr>
                <a:t>切片性能分析</a:t>
              </a:r>
              <a:endParaRPr kumimoji="1" lang="en-US" altLang="zh-CN" sz="1013" dirty="0">
                <a:solidFill>
                  <a:schemeClr val="bg2"/>
                </a:solidFill>
              </a:endParaRPr>
            </a:p>
          </p:txBody>
        </p:sp>
        <p:sp>
          <p:nvSpPr>
            <p:cNvPr id="39" name="双括号 6">
              <a:extLst>
                <a:ext uri="{FF2B5EF4-FFF2-40B4-BE49-F238E27FC236}">
                  <a16:creationId xmlns:a16="http://schemas.microsoft.com/office/drawing/2014/main" id="{C94E7BB6-AAC1-49D8-A923-932E9808133B}"/>
                </a:ext>
              </a:extLst>
            </p:cNvPr>
            <p:cNvSpPr/>
            <p:nvPr/>
          </p:nvSpPr>
          <p:spPr>
            <a:xfrm>
              <a:off x="332951" y="643588"/>
              <a:ext cx="2325489" cy="1793981"/>
            </a:xfrm>
            <a:prstGeom prst="bracketPair">
              <a:avLst/>
            </a:prstGeom>
            <a:ln w="47625" cmpd="sng">
              <a:solidFill>
                <a:srgbClr val="44B9F8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 dirty="0">
                <a:solidFill>
                  <a:schemeClr val="bg2"/>
                </a:solidFill>
                <a:ea typeface="印品黑体" panose="00000500000000000000" pitchFamily="2" charset="-122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1DEAE655-D190-4E99-849C-D7A3DBC0B979}"/>
              </a:ext>
            </a:extLst>
          </p:cNvPr>
          <p:cNvSpPr txBox="1"/>
          <p:nvPr/>
        </p:nvSpPr>
        <p:spPr>
          <a:xfrm>
            <a:off x="2273768" y="1223892"/>
            <a:ext cx="2047715" cy="559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13" dirty="0">
                <a:solidFill>
                  <a:schemeClr val="bg2"/>
                </a:solidFill>
              </a:rPr>
              <a:t>DO for 5G NSA</a:t>
            </a:r>
            <a:r>
              <a:rPr lang="zh-CN" altLang="en-US" sz="1013" dirty="0">
                <a:solidFill>
                  <a:schemeClr val="bg2"/>
                </a:solidFill>
              </a:rPr>
              <a:t>场景</a:t>
            </a:r>
            <a:endParaRPr lang="en-US" altLang="zh-CN" sz="1013" dirty="0">
              <a:solidFill>
                <a:schemeClr val="bg2"/>
              </a:solidFill>
            </a:endParaRPr>
          </a:p>
          <a:p>
            <a:pPr algn="ctr"/>
            <a:r>
              <a:rPr lang="zh-CN" altLang="en-US" sz="1013" dirty="0">
                <a:solidFill>
                  <a:schemeClr val="bg2"/>
                </a:solidFill>
              </a:rPr>
              <a:t>统一版目标</a:t>
            </a:r>
            <a:endParaRPr lang="en-US" sz="1013" dirty="0">
              <a:solidFill>
                <a:schemeClr val="bg2"/>
              </a:solidFill>
            </a:endParaRPr>
          </a:p>
          <a:p>
            <a:pPr algn="ctr"/>
            <a:endParaRPr lang="en-US" sz="1013" dirty="0">
              <a:solidFill>
                <a:schemeClr val="bg2"/>
              </a:solidFill>
            </a:endParaRP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07A87B4E-0F26-49C9-8209-2EE7F2577E7B}"/>
              </a:ext>
            </a:extLst>
          </p:cNvPr>
          <p:cNvCxnSpPr>
            <a:cxnSpLocks/>
          </p:cNvCxnSpPr>
          <p:nvPr/>
        </p:nvCxnSpPr>
        <p:spPr>
          <a:xfrm>
            <a:off x="3244850" y="1835151"/>
            <a:ext cx="2176106" cy="255329"/>
          </a:xfrm>
          <a:prstGeom prst="bentConnector3">
            <a:avLst>
              <a:gd name="adj1" fmla="val 59338"/>
            </a:avLst>
          </a:prstGeom>
          <a:ln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089E6E22-F8BE-4D7E-8124-6DA18CB4B548}"/>
              </a:ext>
            </a:extLst>
          </p:cNvPr>
          <p:cNvCxnSpPr/>
          <p:nvPr/>
        </p:nvCxnSpPr>
        <p:spPr>
          <a:xfrm>
            <a:off x="3309302" y="2090480"/>
            <a:ext cx="2111654" cy="175836"/>
          </a:xfrm>
          <a:prstGeom prst="bentConnector3">
            <a:avLst>
              <a:gd name="adj1" fmla="val 53909"/>
            </a:avLst>
          </a:prstGeom>
          <a:ln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33B6D4B0-3556-4DC6-AFE4-CB50B490F526}"/>
              </a:ext>
            </a:extLst>
          </p:cNvPr>
          <p:cNvCxnSpPr>
            <a:cxnSpLocks/>
          </p:cNvCxnSpPr>
          <p:nvPr/>
        </p:nvCxnSpPr>
        <p:spPr>
          <a:xfrm flipV="1">
            <a:off x="3723045" y="3295651"/>
            <a:ext cx="1697911" cy="1204436"/>
          </a:xfrm>
          <a:prstGeom prst="bentConnector3">
            <a:avLst/>
          </a:prstGeom>
          <a:ln>
            <a:solidFill>
              <a:srgbClr val="FFC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B695FB34-165E-4FCE-9422-73B2E8B6A27E}"/>
              </a:ext>
            </a:extLst>
          </p:cNvPr>
          <p:cNvCxnSpPr>
            <a:cxnSpLocks/>
          </p:cNvCxnSpPr>
          <p:nvPr/>
        </p:nvCxnSpPr>
        <p:spPr>
          <a:xfrm flipV="1">
            <a:off x="3723045" y="3543301"/>
            <a:ext cx="1697911" cy="1203539"/>
          </a:xfrm>
          <a:prstGeom prst="bentConnector3">
            <a:avLst>
              <a:gd name="adj1" fmla="val 60472"/>
            </a:avLst>
          </a:prstGeom>
          <a:ln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3749DD3B-5B44-45E4-81ED-B183A7E268D3}"/>
              </a:ext>
            </a:extLst>
          </p:cNvPr>
          <p:cNvCxnSpPr/>
          <p:nvPr/>
        </p:nvCxnSpPr>
        <p:spPr>
          <a:xfrm>
            <a:off x="120331" y="4733553"/>
            <a:ext cx="318137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7A0897E-6D27-4D91-827F-EAD62041E857}"/>
              </a:ext>
            </a:extLst>
          </p:cNvPr>
          <p:cNvCxnSpPr/>
          <p:nvPr/>
        </p:nvCxnSpPr>
        <p:spPr>
          <a:xfrm>
            <a:off x="120331" y="4968503"/>
            <a:ext cx="318137" cy="0"/>
          </a:xfrm>
          <a:prstGeom prst="straightConnector1">
            <a:avLst/>
          </a:prstGeom>
          <a:ln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D8402D55-67BD-48F6-B65F-A102BC44EC12}"/>
              </a:ext>
            </a:extLst>
          </p:cNvPr>
          <p:cNvSpPr txBox="1"/>
          <p:nvPr/>
        </p:nvSpPr>
        <p:spPr>
          <a:xfrm>
            <a:off x="483747" y="4618137"/>
            <a:ext cx="1136850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25" dirty="0">
                <a:solidFill>
                  <a:schemeClr val="bg2"/>
                </a:solidFill>
              </a:rPr>
              <a:t>演进时，延续性较高</a:t>
            </a:r>
            <a:endParaRPr lang="en-US" sz="825" dirty="0">
              <a:solidFill>
                <a:schemeClr val="bg2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9BBD4F6-82F3-43BD-A7D3-9426E579FC62}"/>
              </a:ext>
            </a:extLst>
          </p:cNvPr>
          <p:cNvSpPr txBox="1"/>
          <p:nvPr/>
        </p:nvSpPr>
        <p:spPr>
          <a:xfrm>
            <a:off x="476373" y="4889115"/>
            <a:ext cx="1136850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25" dirty="0">
                <a:solidFill>
                  <a:schemeClr val="bg2"/>
                </a:solidFill>
              </a:rPr>
              <a:t>演进时，延续性不高</a:t>
            </a:r>
            <a:endParaRPr lang="en-US" sz="825" dirty="0">
              <a:solidFill>
                <a:schemeClr val="bg2"/>
              </a:solidFill>
            </a:endParaRPr>
          </a:p>
        </p:txBody>
      </p:sp>
      <p:sp>
        <p:nvSpPr>
          <p:cNvPr id="64" name="文本框 22">
            <a:extLst>
              <a:ext uri="{FF2B5EF4-FFF2-40B4-BE49-F238E27FC236}">
                <a16:creationId xmlns:a16="http://schemas.microsoft.com/office/drawing/2014/main" id="{6208905F-47A8-4656-AE57-7E21BD83B2AD}"/>
              </a:ext>
            </a:extLst>
          </p:cNvPr>
          <p:cNvSpPr txBox="1"/>
          <p:nvPr/>
        </p:nvSpPr>
        <p:spPr>
          <a:xfrm>
            <a:off x="51911" y="115890"/>
            <a:ext cx="27644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700" b="1" dirty="0">
                <a:solidFill>
                  <a:srgbClr val="44B9F8"/>
                </a:solidFill>
                <a:latin typeface="印品黑体" panose="00000500000000000000" pitchFamily="2" charset="-122"/>
                <a:ea typeface="印品黑体" panose="00000500000000000000" pitchFamily="2" charset="-122"/>
              </a:rPr>
              <a:t>DO</a:t>
            </a:r>
            <a:r>
              <a:rPr lang="zh-CN" altLang="en-US" sz="2700" b="1" dirty="0">
                <a:solidFill>
                  <a:srgbClr val="44B9F8"/>
                </a:solidFill>
                <a:latin typeface="印品黑体" panose="00000500000000000000" pitchFamily="2" charset="-122"/>
                <a:ea typeface="印品黑体" panose="00000500000000000000" pitchFamily="2" charset="-122"/>
              </a:rPr>
              <a:t> </a:t>
            </a:r>
            <a:r>
              <a:rPr lang="en-US" altLang="zh-CN" sz="2700" b="1" dirty="0">
                <a:solidFill>
                  <a:srgbClr val="44B9F8"/>
                </a:solidFill>
                <a:latin typeface="印品黑体" panose="00000500000000000000" pitchFamily="2" charset="-122"/>
                <a:ea typeface="印品黑体" panose="00000500000000000000" pitchFamily="2" charset="-122"/>
              </a:rPr>
              <a:t>5G</a:t>
            </a:r>
            <a:r>
              <a:rPr lang="zh-CN" altLang="en-US" sz="2700" b="1" dirty="0">
                <a:solidFill>
                  <a:srgbClr val="44B9F8"/>
                </a:solidFill>
                <a:latin typeface="印品黑体" panose="00000500000000000000" pitchFamily="2" charset="-122"/>
                <a:ea typeface="印品黑体" panose="00000500000000000000" pitchFamily="2" charset="-122"/>
              </a:rPr>
              <a:t>演进路线</a:t>
            </a:r>
          </a:p>
        </p:txBody>
      </p:sp>
    </p:spTree>
    <p:extLst>
      <p:ext uri="{BB962C8B-B14F-4D97-AF65-F5344CB8AC3E}">
        <p14:creationId xmlns:p14="http://schemas.microsoft.com/office/powerpoint/2010/main" val="244596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7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97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D8556F-328D-4B3C-B854-0B5317C9F7F6}"/>
              </a:ext>
            </a:extLst>
          </p:cNvPr>
          <p:cNvSpPr/>
          <p:nvPr/>
        </p:nvSpPr>
        <p:spPr>
          <a:xfrm>
            <a:off x="401514" y="2729889"/>
            <a:ext cx="3414425" cy="172379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978E06-35DF-4C5F-8F93-9B689ACF68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600" y="590400"/>
            <a:ext cx="5558556" cy="309600"/>
          </a:xfrm>
        </p:spPr>
        <p:txBody>
          <a:bodyPr/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化接口及参考点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4379D4-1D74-460C-804C-AB7000E04D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725" y="144299"/>
            <a:ext cx="8308800" cy="309600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914400"/>
            <a:r>
              <a:rPr lang="zh-CN" altLang="en-US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集基于参考点接口 </a:t>
            </a:r>
            <a:r>
              <a:rPr lang="en-US" altLang="zh-CN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 </a:t>
            </a:r>
            <a:r>
              <a:rPr lang="zh-CN" altLang="en-US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接口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78CCAB-C5C2-493A-BEAA-D2F28ABEC7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00" y="997540"/>
            <a:ext cx="3398339" cy="141712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91A96E3-A88D-43E6-A682-4DE6035F19E1}"/>
              </a:ext>
            </a:extLst>
          </p:cNvPr>
          <p:cNvSpPr/>
          <p:nvPr/>
        </p:nvSpPr>
        <p:spPr>
          <a:xfrm>
            <a:off x="1469361" y="2478577"/>
            <a:ext cx="1669276" cy="22149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lIns="6858" tIns="90000" rIns="6858" bIns="9000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服务化接口视图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526C27-5488-474A-A11A-8E01D2A2BCF8}"/>
              </a:ext>
            </a:extLst>
          </p:cNvPr>
          <p:cNvSpPr/>
          <p:nvPr/>
        </p:nvSpPr>
        <p:spPr>
          <a:xfrm>
            <a:off x="1469361" y="4488502"/>
            <a:ext cx="1669276" cy="24364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lIns="6858" tIns="90000" rIns="6858" bIns="9000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参考点视图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A8C3CBCB-33C2-4F94-BE0D-A7054C41891D}"/>
              </a:ext>
            </a:extLst>
          </p:cNvPr>
          <p:cNvGrpSpPr/>
          <p:nvPr/>
        </p:nvGrpSpPr>
        <p:grpSpPr>
          <a:xfrm>
            <a:off x="417600" y="2878254"/>
            <a:ext cx="3365809" cy="1549823"/>
            <a:chOff x="4835213" y="2436737"/>
            <a:chExt cx="3915336" cy="1274416"/>
          </a:xfrm>
        </p:grpSpPr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74125C66-C7DB-480F-AD14-C74F28AB0E00}"/>
                </a:ext>
              </a:extLst>
            </p:cNvPr>
            <p:cNvCxnSpPr>
              <a:stCxn id="167" idx="3"/>
            </p:cNvCxnSpPr>
            <p:nvPr/>
          </p:nvCxnSpPr>
          <p:spPr>
            <a:xfrm flipV="1">
              <a:off x="4985010" y="3477731"/>
              <a:ext cx="2888224" cy="7138"/>
            </a:xfrm>
            <a:prstGeom prst="line">
              <a:avLst/>
            </a:prstGeom>
            <a:noFill/>
            <a:ln w="28575" cap="flat" cmpd="sng" algn="ctr">
              <a:solidFill>
                <a:srgbClr val="124191"/>
              </a:solidFill>
              <a:prstDash val="solid"/>
            </a:ln>
            <a:effectLst/>
          </p:spPr>
        </p:cxn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ADB03891-3CCC-4624-B5CD-1565F898662D}"/>
                </a:ext>
              </a:extLst>
            </p:cNvPr>
            <p:cNvSpPr/>
            <p:nvPr/>
          </p:nvSpPr>
          <p:spPr>
            <a:xfrm>
              <a:off x="5199348" y="3360542"/>
              <a:ext cx="395506" cy="263671"/>
            </a:xfrm>
            <a:prstGeom prst="rect">
              <a:avLst/>
            </a:prstGeom>
            <a:solidFill>
              <a:srgbClr val="4D5766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G RAN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1C853320-E5D0-4B47-BD35-426BDBC0D2E3}"/>
                </a:ext>
              </a:extLst>
            </p:cNvPr>
            <p:cNvSpPr/>
            <p:nvPr/>
          </p:nvSpPr>
          <p:spPr>
            <a:xfrm>
              <a:off x="8355043" y="2462868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AF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BEC7BFE-8A04-4512-9216-A5583849921B}"/>
                </a:ext>
              </a:extLst>
            </p:cNvPr>
            <p:cNvSpPr/>
            <p:nvPr/>
          </p:nvSpPr>
          <p:spPr>
            <a:xfrm>
              <a:off x="5085351" y="2752686"/>
              <a:ext cx="477834" cy="313814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RF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68BF7116-8DE5-4613-9751-29A934F743E3}"/>
                </a:ext>
              </a:extLst>
            </p:cNvPr>
            <p:cNvCxnSpPr/>
            <p:nvPr/>
          </p:nvCxnSpPr>
          <p:spPr>
            <a:xfrm flipH="1" flipV="1">
              <a:off x="7286898" y="3116851"/>
              <a:ext cx="954" cy="251531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F960F1F8-8E1C-43DC-94F5-BA39B2854B76}"/>
                </a:ext>
              </a:extLst>
            </p:cNvPr>
            <p:cNvCxnSpPr/>
            <p:nvPr/>
          </p:nvCxnSpPr>
          <p:spPr>
            <a:xfrm flipV="1">
              <a:off x="6246228" y="3116851"/>
              <a:ext cx="1040670" cy="251531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50888F99-1672-4C4E-A7F9-4639A1443656}"/>
                </a:ext>
              </a:extLst>
            </p:cNvPr>
            <p:cNvCxnSpPr>
              <a:stCxn id="157" idx="3"/>
            </p:cNvCxnSpPr>
            <p:nvPr/>
          </p:nvCxnSpPr>
          <p:spPr>
            <a:xfrm>
              <a:off x="6498384" y="2985015"/>
              <a:ext cx="590762" cy="0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C9208F3-7BB7-4896-9202-AC5CD5BFEF17}"/>
                </a:ext>
              </a:extLst>
            </p:cNvPr>
            <p:cNvCxnSpPr>
              <a:stCxn id="122" idx="0"/>
              <a:endCxn id="157" idx="1"/>
            </p:cNvCxnSpPr>
            <p:nvPr/>
          </p:nvCxnSpPr>
          <p:spPr>
            <a:xfrm flipV="1">
              <a:off x="5397100" y="2985015"/>
              <a:ext cx="705777" cy="375527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1B6AFA16-CA81-4DCE-940E-84AB73D88508}"/>
                </a:ext>
              </a:extLst>
            </p:cNvPr>
            <p:cNvCxnSpPr>
              <a:stCxn id="157" idx="0"/>
            </p:cNvCxnSpPr>
            <p:nvPr/>
          </p:nvCxnSpPr>
          <p:spPr>
            <a:xfrm flipH="1" flipV="1">
              <a:off x="5881309" y="2726538"/>
              <a:ext cx="419321" cy="126641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AD46AF19-AFDD-4A52-8086-C8C230E4254A}"/>
                </a:ext>
              </a:extLst>
            </p:cNvPr>
            <p:cNvCxnSpPr>
              <a:stCxn id="157" idx="0"/>
            </p:cNvCxnSpPr>
            <p:nvPr/>
          </p:nvCxnSpPr>
          <p:spPr>
            <a:xfrm flipV="1">
              <a:off x="6300631" y="2726538"/>
              <a:ext cx="477726" cy="126641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C00A32FB-B491-43E9-99CC-AEBB042FF99A}"/>
                </a:ext>
              </a:extLst>
            </p:cNvPr>
            <p:cNvCxnSpPr/>
            <p:nvPr/>
          </p:nvCxnSpPr>
          <p:spPr>
            <a:xfrm flipV="1">
              <a:off x="6498384" y="2594703"/>
              <a:ext cx="1042836" cy="315914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8B034A70-4D91-4D07-94CD-5DACAB3B7E79}"/>
                </a:ext>
              </a:extLst>
            </p:cNvPr>
            <p:cNvCxnSpPr/>
            <p:nvPr/>
          </p:nvCxnSpPr>
          <p:spPr>
            <a:xfrm>
              <a:off x="6079062" y="2594703"/>
              <a:ext cx="501541" cy="0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6D14757E-C48A-4AB9-A2EC-2167E203C1D4}"/>
                </a:ext>
              </a:extLst>
            </p:cNvPr>
            <p:cNvCxnSpPr>
              <a:endCxn id="123" idx="1"/>
            </p:cNvCxnSpPr>
            <p:nvPr/>
          </p:nvCxnSpPr>
          <p:spPr>
            <a:xfrm>
              <a:off x="7936724" y="2594703"/>
              <a:ext cx="418319" cy="0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95261AD6-68D7-478E-8F5F-B3A22A75B03C}"/>
                </a:ext>
              </a:extLst>
            </p:cNvPr>
            <p:cNvCxnSpPr/>
            <p:nvPr/>
          </p:nvCxnSpPr>
          <p:spPr>
            <a:xfrm flipH="1" flipV="1">
              <a:off x="6778356" y="2726538"/>
              <a:ext cx="508541" cy="126641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B5FC6AB9-EABE-45AC-B109-08A3D7CEAFA8}"/>
                </a:ext>
              </a:extLst>
            </p:cNvPr>
            <p:cNvCxnSpPr/>
            <p:nvPr/>
          </p:nvCxnSpPr>
          <p:spPr>
            <a:xfrm flipH="1">
              <a:off x="7286898" y="2726538"/>
              <a:ext cx="452074" cy="126641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9795D96C-AE58-4704-87CA-A891D309791A}"/>
                </a:ext>
              </a:extLst>
            </p:cNvPr>
            <p:cNvCxnSpPr/>
            <p:nvPr/>
          </p:nvCxnSpPr>
          <p:spPr>
            <a:xfrm flipH="1">
              <a:off x="6140436" y="3102600"/>
              <a:ext cx="1192" cy="133529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A2BC0684-7D23-406E-9D60-B2D8F294879D}"/>
                </a:ext>
              </a:extLst>
            </p:cNvPr>
            <p:cNvCxnSpPr/>
            <p:nvPr/>
          </p:nvCxnSpPr>
          <p:spPr>
            <a:xfrm flipH="1">
              <a:off x="6442760" y="3107785"/>
              <a:ext cx="1595" cy="130318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9E63B619-AAB9-4C8E-B427-67318EEBA94F}"/>
                </a:ext>
              </a:extLst>
            </p:cNvPr>
            <p:cNvCxnSpPr/>
            <p:nvPr/>
          </p:nvCxnSpPr>
          <p:spPr>
            <a:xfrm flipV="1">
              <a:off x="6135161" y="3238565"/>
              <a:ext cx="308081" cy="751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23122A5A-1577-4715-B89F-278CBB7333D0}"/>
                </a:ext>
              </a:extLst>
            </p:cNvPr>
            <p:cNvSpPr/>
            <p:nvPr/>
          </p:nvSpPr>
          <p:spPr>
            <a:xfrm>
              <a:off x="6091649" y="3090838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14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C8367B5A-81BB-4481-94A9-FC3DC59E5E61}"/>
                </a:ext>
              </a:extLst>
            </p:cNvPr>
            <p:cNvSpPr/>
            <p:nvPr/>
          </p:nvSpPr>
          <p:spPr>
            <a:xfrm>
              <a:off x="7948231" y="2451746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5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5395398D-F2AF-45A5-B687-0EB0D0D3E1CF}"/>
                </a:ext>
              </a:extLst>
            </p:cNvPr>
            <p:cNvSpPr/>
            <p:nvPr/>
          </p:nvSpPr>
          <p:spPr>
            <a:xfrm>
              <a:off x="6991905" y="3150819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4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C888C06C-C7EF-4BC8-B0DD-EC32F5A4EA99}"/>
                </a:ext>
              </a:extLst>
            </p:cNvPr>
            <p:cNvSpPr/>
            <p:nvPr/>
          </p:nvSpPr>
          <p:spPr>
            <a:xfrm>
              <a:off x="7093660" y="2497221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15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8CDD5A5C-AD54-4B98-B0BA-319B1BAE3D59}"/>
                </a:ext>
              </a:extLst>
            </p:cNvPr>
            <p:cNvSpPr/>
            <p:nvPr/>
          </p:nvSpPr>
          <p:spPr>
            <a:xfrm>
              <a:off x="6780522" y="2766639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10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C238CD6F-6A71-43A5-A0FD-479A20C7B323}"/>
                </a:ext>
              </a:extLst>
            </p:cNvPr>
            <p:cNvSpPr/>
            <p:nvPr/>
          </p:nvSpPr>
          <p:spPr>
            <a:xfrm>
              <a:off x="6571952" y="3479646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9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D4710166-7260-4F30-9A0B-D917C2E844C9}"/>
                </a:ext>
              </a:extLst>
            </p:cNvPr>
            <p:cNvSpPr/>
            <p:nvPr/>
          </p:nvSpPr>
          <p:spPr>
            <a:xfrm>
              <a:off x="6188606" y="2651701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8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F40D76F7-02E3-417F-97EE-9CA6FFE56D11}"/>
                </a:ext>
              </a:extLst>
            </p:cNvPr>
            <p:cNvSpPr/>
            <p:nvPr/>
          </p:nvSpPr>
          <p:spPr>
            <a:xfrm>
              <a:off x="7435487" y="2748782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7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663F5345-9F2B-4683-8B4C-86133901D376}"/>
                </a:ext>
              </a:extLst>
            </p:cNvPr>
            <p:cNvSpPr/>
            <p:nvPr/>
          </p:nvSpPr>
          <p:spPr>
            <a:xfrm>
              <a:off x="6607527" y="2943811"/>
              <a:ext cx="398149" cy="217511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11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9E15928A-35A4-45DC-9E21-9B8516B725A4}"/>
                </a:ext>
              </a:extLst>
            </p:cNvPr>
            <p:cNvSpPr/>
            <p:nvPr/>
          </p:nvSpPr>
          <p:spPr>
            <a:xfrm>
              <a:off x="5636461" y="3115106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2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20F0AEAD-BDFF-439A-8BDC-8B742667E03F}"/>
                </a:ext>
              </a:extLst>
            </p:cNvPr>
            <p:cNvSpPr/>
            <p:nvPr/>
          </p:nvSpPr>
          <p:spPr>
            <a:xfrm>
              <a:off x="5758139" y="2755571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12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58B62093-60D3-4E69-B0FE-16590B863EFD}"/>
                </a:ext>
              </a:extLst>
            </p:cNvPr>
            <p:cNvSpPr/>
            <p:nvPr/>
          </p:nvSpPr>
          <p:spPr>
            <a:xfrm>
              <a:off x="6133934" y="2436737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13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9ECA4BA7-27A1-44F6-821D-536FEAFF50D8}"/>
                </a:ext>
              </a:extLst>
            </p:cNvPr>
            <p:cNvSpPr/>
            <p:nvPr/>
          </p:nvSpPr>
          <p:spPr>
            <a:xfrm>
              <a:off x="7888487" y="2782701"/>
              <a:ext cx="502080" cy="341050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EF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CE378C79-A500-4D10-ACB0-7C75D52D6FFA}"/>
                </a:ext>
              </a:extLst>
            </p:cNvPr>
            <p:cNvSpPr/>
            <p:nvPr/>
          </p:nvSpPr>
          <p:spPr>
            <a:xfrm>
              <a:off x="6047316" y="3360542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UPF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E1936D0B-3B35-4DAB-ABB8-BB99EA6DEBBA}"/>
                </a:ext>
              </a:extLst>
            </p:cNvPr>
            <p:cNvSpPr/>
            <p:nvPr/>
          </p:nvSpPr>
          <p:spPr>
            <a:xfrm>
              <a:off x="7106182" y="3348535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UPF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D9D6432F-DD12-4CFC-86D1-6205FE6FB4C0}"/>
                </a:ext>
              </a:extLst>
            </p:cNvPr>
            <p:cNvSpPr/>
            <p:nvPr/>
          </p:nvSpPr>
          <p:spPr>
            <a:xfrm>
              <a:off x="7541219" y="2462868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PCF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EE33DA18-F7FC-413D-BA0A-CECFC744B8D1}"/>
                </a:ext>
              </a:extLst>
            </p:cNvPr>
            <p:cNvSpPr/>
            <p:nvPr/>
          </p:nvSpPr>
          <p:spPr>
            <a:xfrm>
              <a:off x="6580604" y="2462868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UDM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E3A264A7-C2C0-44DF-B57B-4F403ABFD61E}"/>
                </a:ext>
              </a:extLst>
            </p:cNvPr>
            <p:cNvSpPr/>
            <p:nvPr/>
          </p:nvSpPr>
          <p:spPr>
            <a:xfrm>
              <a:off x="5685783" y="2462868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AUSF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2284D5F5-06EA-4CCD-B33E-C9E41E948104}"/>
                </a:ext>
              </a:extLst>
            </p:cNvPr>
            <p:cNvSpPr/>
            <p:nvPr/>
          </p:nvSpPr>
          <p:spPr>
            <a:xfrm>
              <a:off x="6102877" y="2853180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AMF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A6FF7330-BA18-457C-A086-5609691F0207}"/>
                </a:ext>
              </a:extLst>
            </p:cNvPr>
            <p:cNvSpPr/>
            <p:nvPr/>
          </p:nvSpPr>
          <p:spPr>
            <a:xfrm>
              <a:off x="7089145" y="2853180"/>
              <a:ext cx="395506" cy="263671"/>
            </a:xfrm>
            <a:prstGeom prst="rect">
              <a:avLst/>
            </a:prstGeom>
            <a:solidFill>
              <a:srgbClr val="124191"/>
            </a:solidFill>
            <a:ln w="9525" cap="flat" cmpd="sng" algn="ctr">
              <a:solidFill>
                <a:srgbClr val="124191"/>
              </a:solidFill>
              <a:prstDash val="solid"/>
            </a:ln>
            <a:effectLst/>
          </p:spPr>
          <p:txBody>
            <a:bodyPr lIns="0" tIns="0" rIns="0" bIns="0" anchor="ctr" anchorCtr="0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SMF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FB86F6DE-795B-497A-958C-DF1BAF5D6DAF}"/>
                </a:ext>
              </a:extLst>
            </p:cNvPr>
            <p:cNvCxnSpPr/>
            <p:nvPr/>
          </p:nvCxnSpPr>
          <p:spPr>
            <a:xfrm flipV="1">
              <a:off x="4918788" y="2946793"/>
              <a:ext cx="1212780" cy="478829"/>
            </a:xfrm>
            <a:prstGeom prst="line">
              <a:avLst/>
            </a:prstGeom>
            <a:noFill/>
            <a:ln w="12700" cap="flat" cmpd="sng" algn="ctr">
              <a:solidFill>
                <a:srgbClr val="124191"/>
              </a:solidFill>
              <a:prstDash val="solid"/>
            </a:ln>
            <a:effectLst/>
          </p:spPr>
        </p:cxn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1F4CEF8C-3EB2-4D20-B2AA-8231DC94DE2C}"/>
                </a:ext>
              </a:extLst>
            </p:cNvPr>
            <p:cNvSpPr/>
            <p:nvPr/>
          </p:nvSpPr>
          <p:spPr>
            <a:xfrm>
              <a:off x="5586421" y="2886573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1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E9B2CFD-56AB-471A-855E-69A2DB0D2F46}"/>
                </a:ext>
              </a:extLst>
            </p:cNvPr>
            <p:cNvSpPr/>
            <p:nvPr/>
          </p:nvSpPr>
          <p:spPr>
            <a:xfrm>
              <a:off x="7494688" y="3479646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6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B538AAAD-7B66-4AA6-BBE6-59EB5003966A}"/>
                </a:ext>
              </a:extLst>
            </p:cNvPr>
            <p:cNvSpPr/>
            <p:nvPr/>
          </p:nvSpPr>
          <p:spPr>
            <a:xfrm>
              <a:off x="5642385" y="3479646"/>
              <a:ext cx="398149" cy="1653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3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C81DB45-328A-4EF4-9C92-9D8DF15113AC}"/>
                </a:ext>
              </a:extLst>
            </p:cNvPr>
            <p:cNvGrpSpPr/>
            <p:nvPr/>
          </p:nvGrpSpPr>
          <p:grpSpPr>
            <a:xfrm>
              <a:off x="7828473" y="3222099"/>
              <a:ext cx="827552" cy="489054"/>
              <a:chOff x="7234238" y="2501900"/>
              <a:chExt cx="1689100" cy="1125538"/>
            </a:xfrm>
            <a:solidFill>
              <a:srgbClr val="D7DEE2"/>
            </a:solidFill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4F402439-011F-412E-9810-A12CC61B2380}"/>
                  </a:ext>
                </a:extLst>
              </p:cNvPr>
              <p:cNvSpPr/>
              <p:nvPr/>
            </p:nvSpPr>
            <p:spPr>
              <a:xfrm>
                <a:off x="7234238" y="2501900"/>
                <a:ext cx="1689100" cy="1125538"/>
              </a:xfrm>
              <a:prstGeom prst="ellipse">
                <a:avLst/>
              </a:prstGeom>
              <a:solidFill>
                <a:srgbClr val="D7DEE2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0" tIns="0" rIns="0" bIns="0" anchor="ctr" anchorCtr="0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C6217F78-8D00-4A00-94A9-312F790F0205}"/>
                  </a:ext>
                </a:extLst>
              </p:cNvPr>
              <p:cNvSpPr/>
              <p:nvPr/>
            </p:nvSpPr>
            <p:spPr>
              <a:xfrm>
                <a:off x="7344002" y="2803583"/>
                <a:ext cx="1469572" cy="522172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135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rPr>
                  <a:t>D</a:t>
                </a:r>
                <a:r>
                  <a:rPr kumimoji="0" lang="en-US" altLang="zh-CN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135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  <a:cs typeface="+mn-cs"/>
                  </a:rPr>
                  <a:t>N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D70413C9-2F39-44F4-9CF3-58650ECDBA89}"/>
                </a:ext>
              </a:extLst>
            </p:cNvPr>
            <p:cNvGrpSpPr/>
            <p:nvPr/>
          </p:nvGrpSpPr>
          <p:grpSpPr>
            <a:xfrm>
              <a:off x="4835213" y="3351947"/>
              <a:ext cx="171273" cy="272506"/>
              <a:chOff x="4049126" y="2142627"/>
              <a:chExt cx="502576" cy="799632"/>
            </a:xfrm>
          </p:grpSpPr>
          <p:sp>
            <p:nvSpPr>
              <p:cNvPr id="165" name="Rounded Rectangle 59">
                <a:extLst>
                  <a:ext uri="{FF2B5EF4-FFF2-40B4-BE49-F238E27FC236}">
                    <a16:creationId xmlns:a16="http://schemas.microsoft.com/office/drawing/2014/main" id="{5294DC10-3C9D-47F3-8C28-2705D329575B}"/>
                  </a:ext>
                </a:extLst>
              </p:cNvPr>
              <p:cNvSpPr/>
              <p:nvPr/>
            </p:nvSpPr>
            <p:spPr>
              <a:xfrm>
                <a:off x="4049126" y="2142627"/>
                <a:ext cx="502576" cy="799632"/>
              </a:xfrm>
              <a:prstGeom prst="roundRect">
                <a:avLst>
                  <a:gd name="adj" fmla="val 16276"/>
                </a:avLst>
              </a:prstGeom>
              <a:solidFill>
                <a:srgbClr val="FFFFFF"/>
              </a:solidFill>
              <a:ln w="9525" cap="flat" cmpd="sng" algn="ctr">
                <a:solidFill>
                  <a:srgbClr val="001135"/>
                </a:solidFill>
                <a:prstDash val="solid"/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rgbClr val="98A2AE">
                    <a:shade val="70000"/>
                    <a:satMod val="105000"/>
                  </a:srgbClr>
                </a:contourClr>
              </a:sp3d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2BD882FA-53D5-4377-B2C7-1952698EF55E}"/>
                  </a:ext>
                </a:extLst>
              </p:cNvPr>
              <p:cNvCxnSpPr/>
              <p:nvPr/>
            </p:nvCxnSpPr>
            <p:spPr>
              <a:xfrm>
                <a:off x="4226927" y="2190941"/>
                <a:ext cx="121185" cy="0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1135"/>
                </a:solidFill>
                <a:prstDash val="solid"/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rgbClr val="98A2AE">
                    <a:shade val="70000"/>
                    <a:satMod val="105000"/>
                  </a:srgbClr>
                </a:contourClr>
              </a:sp3d>
            </p:spPr>
          </p:cxn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0E9CF821-3A21-4F40-A573-B3D9A9116AC1}"/>
                  </a:ext>
                </a:extLst>
              </p:cNvPr>
              <p:cNvSpPr/>
              <p:nvPr/>
            </p:nvSpPr>
            <p:spPr>
              <a:xfrm>
                <a:off x="4110588" y="2239413"/>
                <a:ext cx="378097" cy="58651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1135"/>
                </a:solidFill>
                <a:prstDash val="solid"/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rgbClr val="98A2AE">
                    <a:shade val="70000"/>
                    <a:satMod val="105000"/>
                  </a:srgbClr>
                </a:contourClr>
              </a:sp3d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6F158777-2862-460E-9CA4-6BAF52F82C99}"/>
                  </a:ext>
                </a:extLst>
              </p:cNvPr>
              <p:cNvSpPr/>
              <p:nvPr/>
            </p:nvSpPr>
            <p:spPr>
              <a:xfrm>
                <a:off x="4275400" y="2864703"/>
                <a:ext cx="45719" cy="45719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1135"/>
                </a:solidFill>
                <a:prstDash val="solid"/>
              </a:ln>
              <a:effectLst/>
              <a:scene3d>
                <a:camera prst="orthographicFront" fov="0">
                  <a:rot lat="0" lon="0" rev="0"/>
                </a:camera>
                <a:lightRig rig="threePt" dir="t">
                  <a:rot lat="0" lon="0" rev="0"/>
                </a:lightRig>
              </a:scene3d>
              <a:sp3d prstMaterial="matte">
                <a:contourClr>
                  <a:srgbClr val="98A2AE">
                    <a:shade val="70000"/>
                    <a:satMod val="105000"/>
                  </a:srgbClr>
                </a:contourClr>
              </a:sp3d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</p:grp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2BB5853C-8199-4688-B7DE-92FB8BB18B21}"/>
              </a:ext>
            </a:extLst>
          </p:cNvPr>
          <p:cNvSpPr/>
          <p:nvPr/>
        </p:nvSpPr>
        <p:spPr>
          <a:xfrm>
            <a:off x="1700711" y="2787501"/>
            <a:ext cx="785191" cy="532551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5A92806E-563E-4AD6-81EC-A2FA750EEC67}"/>
              </a:ext>
            </a:extLst>
          </p:cNvPr>
          <p:cNvSpPr/>
          <p:nvPr/>
        </p:nvSpPr>
        <p:spPr>
          <a:xfrm>
            <a:off x="2283433" y="971748"/>
            <a:ext cx="600017" cy="532551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911210F-D25E-4FD3-AE98-974992861C92}"/>
              </a:ext>
            </a:extLst>
          </p:cNvPr>
          <p:cNvSpPr/>
          <p:nvPr/>
        </p:nvSpPr>
        <p:spPr>
          <a:xfrm>
            <a:off x="4332274" y="858928"/>
            <a:ext cx="4571699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控制面对外呈现服务化接口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5GC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控制面内的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F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应提供服务化接口，对外呈现其它授权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F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可以使用的服务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服务化架构的动机是进一步增强网络架构的灵活性和可重用性，以便任何授权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F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可以使用任何其它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F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提供的服务。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在控制面外围接口仍保留点对点接口：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1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，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2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，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3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，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4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，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6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，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9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服务发现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461963" marR="0" lvl="0" indent="-11588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F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向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RF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注册及去注册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461963" marR="0" lvl="0" indent="-11588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通过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RF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查询发现可用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F</a:t>
            </a:r>
          </a:p>
          <a:p>
            <a:pPr marL="461963" marR="0" lvl="0" indent="-11588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服务调用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461963" marR="0" lvl="0" indent="-11588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请求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/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响应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  <a:p>
            <a:pPr marL="461963" marR="0" lvl="0" indent="-11588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订阅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/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通知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35563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623484-A0E0-40EF-8254-189C0AB6F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600" y="200121"/>
            <a:ext cx="8308800" cy="309600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914400"/>
            <a:r>
              <a:rPr lang="zh-CN" altLang="en-US" sz="2000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集 考虑 </a:t>
            </a:r>
            <a:r>
              <a:rPr lang="en-US" altLang="zh-CN" sz="2000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G</a:t>
            </a:r>
            <a:r>
              <a:rPr lang="zh-CN" altLang="en-US" sz="2000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网部署关键问题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A4644EF-0A75-490A-B997-6D2EC70E33AA}"/>
              </a:ext>
            </a:extLst>
          </p:cNvPr>
          <p:cNvGrpSpPr/>
          <p:nvPr/>
        </p:nvGrpSpPr>
        <p:grpSpPr>
          <a:xfrm>
            <a:off x="417600" y="2251258"/>
            <a:ext cx="3938577" cy="1517326"/>
            <a:chOff x="1091345" y="1506908"/>
            <a:chExt cx="2905385" cy="1517326"/>
          </a:xfrm>
        </p:grpSpPr>
        <p:sp>
          <p:nvSpPr>
            <p:cNvPr id="43" name="矩形 91">
              <a:extLst>
                <a:ext uri="{FF2B5EF4-FFF2-40B4-BE49-F238E27FC236}">
                  <a16:creationId xmlns:a16="http://schemas.microsoft.com/office/drawing/2014/main" id="{CA503642-04B3-4D4B-AA23-194698EAC1E1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3"/>
                <a:tabLst/>
                <a:defRPr/>
              </a:pP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G</a:t>
              </a: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语音方案 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(OPEN)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E37A1E4-9BE2-457F-9763-7DDF56E939B5}"/>
                </a:ext>
              </a:extLst>
            </p:cNvPr>
            <p:cNvSpPr txBox="1"/>
            <p:nvPr/>
          </p:nvSpPr>
          <p:spPr>
            <a:xfrm>
              <a:off x="1091345" y="1783907"/>
              <a:ext cx="2905385" cy="12403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zh-CN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VoLTE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zh-CN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VoNR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EPS </a:t>
              </a:r>
              <a:r>
                <a:rPr kumimoji="0" lang="pt-BR" altLang="zh-CN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fallback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双待（</a:t>
              </a: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Dual-</a:t>
              </a:r>
              <a:r>
                <a:rPr kumimoji="0" lang="pt-BR" altLang="zh-CN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standby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）终端</a:t>
              </a: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?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25DC202-A605-45A9-B7BA-E8FB226607C5}"/>
              </a:ext>
            </a:extLst>
          </p:cNvPr>
          <p:cNvGrpSpPr/>
          <p:nvPr/>
        </p:nvGrpSpPr>
        <p:grpSpPr>
          <a:xfrm>
            <a:off x="417600" y="3345972"/>
            <a:ext cx="3938578" cy="738664"/>
            <a:chOff x="1091345" y="1506908"/>
            <a:chExt cx="2905385" cy="738664"/>
          </a:xfrm>
        </p:grpSpPr>
        <p:sp>
          <p:nvSpPr>
            <p:cNvPr id="46" name="矩形 91">
              <a:extLst>
                <a:ext uri="{FF2B5EF4-FFF2-40B4-BE49-F238E27FC236}">
                  <a16:creationId xmlns:a16="http://schemas.microsoft.com/office/drawing/2014/main" id="{CE88D0C6-616E-45F6-BF4A-2DC91E2E6DB6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4"/>
                <a:tabLst/>
                <a:defRPr/>
              </a:pP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G</a:t>
              </a: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短消息方案 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(OPEN)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C089B09-9480-4436-8381-51F8B166394F}"/>
                </a:ext>
              </a:extLst>
            </p:cNvPr>
            <p:cNvSpPr txBox="1"/>
            <p:nvPr/>
          </p:nvSpPr>
          <p:spPr>
            <a:xfrm>
              <a:off x="1091345" y="1783907"/>
              <a:ext cx="2905385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基于</a:t>
              </a: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IP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的短消息作为主流方案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基于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AS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的短消息应用场景？（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UE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可以保留在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LTE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）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EDCEC7A-D0A4-47D7-8FDB-88D1752E98FA}"/>
              </a:ext>
            </a:extLst>
          </p:cNvPr>
          <p:cNvGrpSpPr/>
          <p:nvPr/>
        </p:nvGrpSpPr>
        <p:grpSpPr>
          <a:xfrm>
            <a:off x="418120" y="698500"/>
            <a:ext cx="3938577" cy="640456"/>
            <a:chOff x="1091345" y="1506908"/>
            <a:chExt cx="2905385" cy="640456"/>
          </a:xfrm>
        </p:grpSpPr>
        <p:sp>
          <p:nvSpPr>
            <p:cNvPr id="49" name="矩形 91">
              <a:extLst>
                <a:ext uri="{FF2B5EF4-FFF2-40B4-BE49-F238E27FC236}">
                  <a16:creationId xmlns:a16="http://schemas.microsoft.com/office/drawing/2014/main" id="{FA1B69AB-939B-48A6-B977-005367E3C896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/>
                <a:tabLst/>
                <a:defRPr/>
              </a:pP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组网架构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NSA vs SA (OPEN)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8C95D5C-815B-4EC1-8C08-2F6C1FA8345B}"/>
                </a:ext>
              </a:extLst>
            </p:cNvPr>
            <p:cNvSpPr txBox="1"/>
            <p:nvPr/>
          </p:nvSpPr>
          <p:spPr>
            <a:xfrm>
              <a:off x="1091345" y="1783907"/>
              <a:ext cx="2905385" cy="3634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G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部署时间，相应基本服务和架构的确定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产业成熟度（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SA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芯片、终端以及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GC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产品）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01A83B2-A7F4-4FD8-92BC-005C82885D64}"/>
              </a:ext>
            </a:extLst>
          </p:cNvPr>
          <p:cNvGrpSpPr/>
          <p:nvPr/>
        </p:nvGrpSpPr>
        <p:grpSpPr>
          <a:xfrm>
            <a:off x="417599" y="1392386"/>
            <a:ext cx="3938577" cy="834808"/>
            <a:chOff x="1091345" y="1506908"/>
            <a:chExt cx="2905385" cy="834808"/>
          </a:xfrm>
        </p:grpSpPr>
        <p:sp>
          <p:nvSpPr>
            <p:cNvPr id="52" name="矩形 91">
              <a:extLst>
                <a:ext uri="{FF2B5EF4-FFF2-40B4-BE49-F238E27FC236}">
                  <a16:creationId xmlns:a16="http://schemas.microsoft.com/office/drawing/2014/main" id="{115C4CB9-8155-457F-ABA6-92A225ACBF89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2"/>
                <a:tabLst/>
                <a:defRPr/>
              </a:pP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4G/5G</a:t>
              </a: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互操作 （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OPEN</a:t>
              </a: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）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CDCE347-15BA-4557-AEBC-6888B18340FE}"/>
                </a:ext>
              </a:extLst>
            </p:cNvPr>
            <p:cNvSpPr txBox="1"/>
            <p:nvPr/>
          </p:nvSpPr>
          <p:spPr>
            <a:xfrm>
              <a:off x="1091345" y="1759843"/>
              <a:ext cx="2905385" cy="5818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融合网元的部署策略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双注册终端的应用场景</a:t>
              </a: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?</a:t>
              </a: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“三不”原则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 -&gt; 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数据库网元的搬迁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A91746-CEFC-425E-83D1-210872B63F29}"/>
              </a:ext>
            </a:extLst>
          </p:cNvPr>
          <p:cNvGrpSpPr/>
          <p:nvPr/>
        </p:nvGrpSpPr>
        <p:grpSpPr>
          <a:xfrm>
            <a:off x="4634314" y="1434014"/>
            <a:ext cx="3938577" cy="640456"/>
            <a:chOff x="1091345" y="1506908"/>
            <a:chExt cx="2905385" cy="640456"/>
          </a:xfrm>
        </p:grpSpPr>
        <p:sp>
          <p:nvSpPr>
            <p:cNvPr id="55" name="矩形 91">
              <a:extLst>
                <a:ext uri="{FF2B5EF4-FFF2-40B4-BE49-F238E27FC236}">
                  <a16:creationId xmlns:a16="http://schemas.microsoft.com/office/drawing/2014/main" id="{70B24E58-B355-4792-AA21-9D32ACC98570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7"/>
                <a:tabLst/>
                <a:defRPr/>
              </a:pP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MEC</a:t>
              </a: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使能技术 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(OPEN)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433A32C-813B-49AB-8649-3910EE2EFA76}"/>
                </a:ext>
              </a:extLst>
            </p:cNvPr>
            <p:cNvSpPr txBox="1"/>
            <p:nvPr/>
          </p:nvSpPr>
          <p:spPr>
            <a:xfrm>
              <a:off x="1091345" y="1783907"/>
              <a:ext cx="2905385" cy="3634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本地分流技术（</a:t>
              </a: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UL CL, IPv6 </a:t>
              </a:r>
              <a:r>
                <a:rPr kumimoji="0" lang="pt-BR" altLang="zh-CN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multihoming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）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应用及部署场景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22909CE-C793-4FB3-82FA-665DD95CC3DB}"/>
              </a:ext>
            </a:extLst>
          </p:cNvPr>
          <p:cNvGrpSpPr/>
          <p:nvPr/>
        </p:nvGrpSpPr>
        <p:grpSpPr>
          <a:xfrm>
            <a:off x="4634313" y="2162480"/>
            <a:ext cx="3938577" cy="640456"/>
            <a:chOff x="1091345" y="1506908"/>
            <a:chExt cx="2905385" cy="640456"/>
          </a:xfrm>
        </p:grpSpPr>
        <p:sp>
          <p:nvSpPr>
            <p:cNvPr id="58" name="矩形 91">
              <a:extLst>
                <a:ext uri="{FF2B5EF4-FFF2-40B4-BE49-F238E27FC236}">
                  <a16:creationId xmlns:a16="http://schemas.microsoft.com/office/drawing/2014/main" id="{346AFFBD-B55D-4EB8-B428-0DB37A12346D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8"/>
                <a:tabLst/>
                <a:defRPr/>
              </a:pP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网络切片 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(OPEN)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0AF1351E-5896-409A-A82F-074F57CB2EAC}"/>
                </a:ext>
              </a:extLst>
            </p:cNvPr>
            <p:cNvSpPr txBox="1"/>
            <p:nvPr/>
          </p:nvSpPr>
          <p:spPr>
            <a:xfrm>
              <a:off x="1091345" y="1783907"/>
              <a:ext cx="2905385" cy="3634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网络切片的规划策略，与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4G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的互操作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网络切片的管理与编排（手工、半自动、全自动）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61" name="矩形 91">
            <a:extLst>
              <a:ext uri="{FF2B5EF4-FFF2-40B4-BE49-F238E27FC236}">
                <a16:creationId xmlns:a16="http://schemas.microsoft.com/office/drawing/2014/main" id="{2D8CD13B-38DA-4415-8CAC-A138B7E7A7FC}"/>
              </a:ext>
            </a:extLst>
          </p:cNvPr>
          <p:cNvSpPr/>
          <p:nvPr/>
        </p:nvSpPr>
        <p:spPr>
          <a:xfrm>
            <a:off x="4639954" y="4157700"/>
            <a:ext cx="3932935" cy="27699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36000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非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3GPP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接入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 – 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初期可以延续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4G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的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WLAN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接入方案</a:t>
            </a:r>
            <a:endParaRPr kumimoji="1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4" name="矩形 91">
            <a:extLst>
              <a:ext uri="{FF2B5EF4-FFF2-40B4-BE49-F238E27FC236}">
                <a16:creationId xmlns:a16="http://schemas.microsoft.com/office/drawing/2014/main" id="{4CDE0468-935E-47BC-A74C-5CA40E7DA974}"/>
              </a:ext>
            </a:extLst>
          </p:cNvPr>
          <p:cNvSpPr/>
          <p:nvPr/>
        </p:nvSpPr>
        <p:spPr>
          <a:xfrm>
            <a:off x="4640973" y="3792466"/>
            <a:ext cx="3932935" cy="27699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36000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国际漫游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– 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初期可以依靠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4G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实现国际漫游</a:t>
            </a:r>
            <a:endParaRPr kumimoji="1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0288E0B-D32E-4936-B6D0-FBB39234F931}"/>
              </a:ext>
            </a:extLst>
          </p:cNvPr>
          <p:cNvGrpSpPr/>
          <p:nvPr/>
        </p:nvGrpSpPr>
        <p:grpSpPr>
          <a:xfrm>
            <a:off x="4640974" y="707100"/>
            <a:ext cx="3938577" cy="640456"/>
            <a:chOff x="1091345" y="1506908"/>
            <a:chExt cx="2905385" cy="640456"/>
          </a:xfrm>
        </p:grpSpPr>
        <p:sp>
          <p:nvSpPr>
            <p:cNvPr id="67" name="矩形 91">
              <a:extLst>
                <a:ext uri="{FF2B5EF4-FFF2-40B4-BE49-F238E27FC236}">
                  <a16:creationId xmlns:a16="http://schemas.microsoft.com/office/drawing/2014/main" id="{F9757DC4-504E-475B-BD79-457FA01462DC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6"/>
                <a:tabLst/>
                <a:defRPr/>
              </a:pP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网络能力开放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 (OPEN)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418F6AA-AAC4-4652-83CF-FD947DA0E0BF}"/>
                </a:ext>
              </a:extLst>
            </p:cNvPr>
            <p:cNvSpPr txBox="1"/>
            <p:nvPr/>
          </p:nvSpPr>
          <p:spPr>
            <a:xfrm>
              <a:off x="1091345" y="1783907"/>
              <a:ext cx="2905385" cy="3634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4G/5G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协同部署（</a:t>
              </a: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PCC&amp;NB-</a:t>
              </a:r>
              <a:r>
                <a:rPr kumimoji="0" lang="pt-BR" altLang="zh-CN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IoT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）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需要进一步研究应用场景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4DF7C32D-1F66-46E0-9788-3E61E61CB522}"/>
              </a:ext>
            </a:extLst>
          </p:cNvPr>
          <p:cNvGrpSpPr/>
          <p:nvPr/>
        </p:nvGrpSpPr>
        <p:grpSpPr>
          <a:xfrm>
            <a:off x="4651987" y="2938018"/>
            <a:ext cx="3944967" cy="640456"/>
            <a:chOff x="1095507" y="1506908"/>
            <a:chExt cx="2910099" cy="640456"/>
          </a:xfrm>
        </p:grpSpPr>
        <p:sp>
          <p:nvSpPr>
            <p:cNvPr id="73" name="矩形 91">
              <a:extLst>
                <a:ext uri="{FF2B5EF4-FFF2-40B4-BE49-F238E27FC236}">
                  <a16:creationId xmlns:a16="http://schemas.microsoft.com/office/drawing/2014/main" id="{0DAB32F7-4007-4E93-9054-7CB3B1C0C50B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9"/>
                <a:tabLst/>
                <a:defRPr/>
              </a:pP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4G/5G</a:t>
              </a: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信令网 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(OPEN) 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68CBAFBE-3323-4591-8737-266E319CD45A}"/>
                </a:ext>
              </a:extLst>
            </p:cNvPr>
            <p:cNvSpPr txBox="1"/>
            <p:nvPr/>
          </p:nvSpPr>
          <p:spPr>
            <a:xfrm>
              <a:off x="1100221" y="1783907"/>
              <a:ext cx="2905385" cy="3634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HTTP Proxy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部署的必要性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DRA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的改造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B23ECFF-ED63-4298-8365-E31BDF6209A9}"/>
              </a:ext>
            </a:extLst>
          </p:cNvPr>
          <p:cNvGrpSpPr/>
          <p:nvPr/>
        </p:nvGrpSpPr>
        <p:grpSpPr>
          <a:xfrm>
            <a:off x="417600" y="4120824"/>
            <a:ext cx="3938578" cy="553998"/>
            <a:chOff x="1091345" y="1506908"/>
            <a:chExt cx="2905385" cy="553998"/>
          </a:xfrm>
        </p:grpSpPr>
        <p:sp>
          <p:nvSpPr>
            <p:cNvPr id="34" name="矩形 91">
              <a:extLst>
                <a:ext uri="{FF2B5EF4-FFF2-40B4-BE49-F238E27FC236}">
                  <a16:creationId xmlns:a16="http://schemas.microsoft.com/office/drawing/2014/main" id="{491EB0DD-247A-4607-BFD0-D2F8139EB18F}"/>
                </a:ext>
              </a:extLst>
            </p:cNvPr>
            <p:cNvSpPr/>
            <p:nvPr/>
          </p:nvSpPr>
          <p:spPr>
            <a:xfrm>
              <a:off x="1095507" y="1506908"/>
              <a:ext cx="2901223" cy="27699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360000">
              <a:spAutoFit/>
            </a:bodyPr>
            <a:lstStyle/>
            <a:p>
              <a:pPr marL="228600" marR="0" lvl="0" indent="-22860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 typeface="+mj-ea"/>
                <a:buAutoNum type="circleNumDbPlain" startAt="5"/>
                <a:tabLst/>
                <a:defRPr/>
              </a:pP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G</a:t>
              </a:r>
              <a:r>
                <a:rPr kumimoji="1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策略控制 </a:t>
              </a:r>
              <a:r>
                <a:rPr kumimoji="1" lang="en-US" altLang="zh-C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(OPEN)</a:t>
              </a:r>
              <a:endPara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ED9F1D2-BECD-4278-BEE9-5CD1800E7C08}"/>
                </a:ext>
              </a:extLst>
            </p:cNvPr>
            <p:cNvSpPr txBox="1"/>
            <p:nvPr/>
          </p:nvSpPr>
          <p:spPr>
            <a:xfrm>
              <a:off x="1091345" y="1783907"/>
              <a:ext cx="290538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68288" marR="0" lvl="0" indent="-268288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终端与接入策略的选择与验证</a:t>
              </a:r>
              <a:endParaRPr kumimoji="0" lang="pt-BR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36" name="矩形 91">
            <a:extLst>
              <a:ext uri="{FF2B5EF4-FFF2-40B4-BE49-F238E27FC236}">
                <a16:creationId xmlns:a16="http://schemas.microsoft.com/office/drawing/2014/main" id="{F3325C0E-CA68-41AB-9EE8-C75148CD3D97}"/>
              </a:ext>
            </a:extLst>
          </p:cNvPr>
          <p:cNvSpPr/>
          <p:nvPr/>
        </p:nvSpPr>
        <p:spPr>
          <a:xfrm>
            <a:off x="4634313" y="4529595"/>
            <a:ext cx="3932935" cy="276999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36000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5GC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设备形态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 – 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全</a:t>
            </a: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网元宜采用虚拟化形态部署</a:t>
            </a:r>
            <a:endParaRPr kumimoji="1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009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07548F-E2EA-452D-BB02-DC44260F2D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304" y="171584"/>
            <a:ext cx="8308800" cy="309600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914400"/>
            <a:r>
              <a:rPr lang="zh-CN" altLang="en-US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接口采集基于</a:t>
            </a:r>
            <a:r>
              <a:rPr lang="en-US" altLang="zh-CN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5G </a:t>
            </a:r>
            <a:r>
              <a:rPr lang="zh-CN" altLang="en-US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网元部署顺序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B3F4E338-3115-4461-9D98-76B4BBE1E37B}"/>
              </a:ext>
            </a:extLst>
          </p:cNvPr>
          <p:cNvSpPr/>
          <p:nvPr/>
        </p:nvSpPr>
        <p:spPr>
          <a:xfrm>
            <a:off x="4988696" y="639514"/>
            <a:ext cx="402295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按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5GC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网元功能及网络功能要求定位，可以把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5GC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网元分为以下几类：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228594" marR="0" lvl="0" indent="-228594" algn="l" defTabSz="9143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基本网元（必选，深蓝色）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228594" marR="0" lvl="0" indent="-228594" algn="l" defTabSz="9143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增强网元（可选，绿色）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228594" marR="0" lvl="0" indent="-228594" algn="l" defTabSz="9143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待定网元（按需，紫色）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228594" marR="0" lvl="0" indent="-228594" algn="l" defTabSz="9143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不考虑网元（灰色）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0" marR="0" lvl="0" indent="0" algn="l" defTabSz="9143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同时，考虑到厂家实现和与相关度，可以将某些网元功能融合在合设网元中，例如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AUSF/UDM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rPr>
              <a:t>。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273050" marR="0" lvl="1" indent="0" algn="l" defTabSz="9143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5223C10-FC11-493C-9A04-74B64D9B5EDD}"/>
              </a:ext>
            </a:extLst>
          </p:cNvPr>
          <p:cNvGrpSpPr/>
          <p:nvPr/>
        </p:nvGrpSpPr>
        <p:grpSpPr>
          <a:xfrm>
            <a:off x="181824" y="947106"/>
            <a:ext cx="4647835" cy="2725384"/>
            <a:chOff x="417600" y="2099279"/>
            <a:chExt cx="4441388" cy="2556939"/>
          </a:xfrm>
        </p:grpSpPr>
        <p:sp>
          <p:nvSpPr>
            <p:cNvPr id="406" name="Rectangle 405">
              <a:extLst>
                <a:ext uri="{FF2B5EF4-FFF2-40B4-BE49-F238E27FC236}">
                  <a16:creationId xmlns:a16="http://schemas.microsoft.com/office/drawing/2014/main" id="{3A9E1273-FD49-41EE-8FC2-E706B1034426}"/>
                </a:ext>
              </a:extLst>
            </p:cNvPr>
            <p:cNvSpPr/>
            <p:nvPr/>
          </p:nvSpPr>
          <p:spPr bwMode="auto">
            <a:xfrm>
              <a:off x="1002734" y="4048415"/>
              <a:ext cx="426815" cy="199212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U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07" name="Rectangle 406">
              <a:extLst>
                <a:ext uri="{FF2B5EF4-FFF2-40B4-BE49-F238E27FC236}">
                  <a16:creationId xmlns:a16="http://schemas.microsoft.com/office/drawing/2014/main" id="{6F055041-039D-42A0-9895-6002C4D6BFDD}"/>
                </a:ext>
              </a:extLst>
            </p:cNvPr>
            <p:cNvSpPr/>
            <p:nvPr/>
          </p:nvSpPr>
          <p:spPr bwMode="auto">
            <a:xfrm>
              <a:off x="1861782" y="4048415"/>
              <a:ext cx="426815" cy="199212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(R)AN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08" name="Rectangle 407">
              <a:extLst>
                <a:ext uri="{FF2B5EF4-FFF2-40B4-BE49-F238E27FC236}">
                  <a16:creationId xmlns:a16="http://schemas.microsoft.com/office/drawing/2014/main" id="{6676BB57-17D4-4161-A010-DEE93E86C99B}"/>
                </a:ext>
              </a:extLst>
            </p:cNvPr>
            <p:cNvSpPr/>
            <p:nvPr/>
          </p:nvSpPr>
          <p:spPr bwMode="auto">
            <a:xfrm>
              <a:off x="2612836" y="4048415"/>
              <a:ext cx="426815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UP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09" name="Rectangle 408">
              <a:extLst>
                <a:ext uri="{FF2B5EF4-FFF2-40B4-BE49-F238E27FC236}">
                  <a16:creationId xmlns:a16="http://schemas.microsoft.com/office/drawing/2014/main" id="{E4872523-BED1-49B0-8A01-81194A1B7019}"/>
                </a:ext>
              </a:extLst>
            </p:cNvPr>
            <p:cNvSpPr/>
            <p:nvPr/>
          </p:nvSpPr>
          <p:spPr bwMode="auto">
            <a:xfrm>
              <a:off x="3616973" y="4048415"/>
              <a:ext cx="426815" cy="199212"/>
            </a:xfrm>
            <a:prstGeom prst="rect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DN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10" name="Rectangle 409">
              <a:extLst>
                <a:ext uri="{FF2B5EF4-FFF2-40B4-BE49-F238E27FC236}">
                  <a16:creationId xmlns:a16="http://schemas.microsoft.com/office/drawing/2014/main" id="{EB7E84F6-A2EA-4BC1-A2C1-D300743F152E}"/>
                </a:ext>
              </a:extLst>
            </p:cNvPr>
            <p:cNvSpPr/>
            <p:nvPr/>
          </p:nvSpPr>
          <p:spPr bwMode="auto">
            <a:xfrm>
              <a:off x="1002734" y="2652804"/>
              <a:ext cx="426815" cy="199212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SS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AAF76937-6152-4B66-8C54-41047DA79B2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6184" y="3074891"/>
              <a:ext cx="3384612" cy="0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412" name="Group 411">
              <a:extLst>
                <a:ext uri="{FF2B5EF4-FFF2-40B4-BE49-F238E27FC236}">
                  <a16:creationId xmlns:a16="http://schemas.microsoft.com/office/drawing/2014/main" id="{A691CBE3-4C8A-4D7A-8838-0552746D4C51}"/>
                </a:ext>
              </a:extLst>
            </p:cNvPr>
            <p:cNvGrpSpPr/>
            <p:nvPr/>
          </p:nvGrpSpPr>
          <p:grpSpPr>
            <a:xfrm>
              <a:off x="1189465" y="2809276"/>
              <a:ext cx="53352" cy="265616"/>
              <a:chOff x="2340546" y="2214091"/>
              <a:chExt cx="72008" cy="288032"/>
            </a:xfrm>
          </p:grpSpPr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6FC5D5A2-27B4-4772-91CA-18E5098AED3D}"/>
                  </a:ext>
                </a:extLst>
              </p:cNvPr>
              <p:cNvSpPr/>
              <p:nvPr/>
            </p:nvSpPr>
            <p:spPr bwMode="auto">
              <a:xfrm>
                <a:off x="2340546" y="2214091"/>
                <a:ext cx="72008" cy="45719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76050" marR="0" lvl="0" indent="-17605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900" b="1" i="1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cxnSp>
            <p:nvCxnSpPr>
              <p:cNvPr id="510" name="Straight Connector 509">
                <a:extLst>
                  <a:ext uri="{FF2B5EF4-FFF2-40B4-BE49-F238E27FC236}">
                    <a16:creationId xmlns:a16="http://schemas.microsoft.com/office/drawing/2014/main" id="{AE50075B-FC2E-45C9-B3A5-4101925681CE}"/>
                  </a:ext>
                </a:extLst>
              </p:cNvPr>
              <p:cNvCxnSpPr>
                <a:cxnSpLocks/>
                <a:stCxn id="509" idx="4"/>
              </p:cNvCxnSpPr>
              <p:nvPr/>
            </p:nvCxnSpPr>
            <p:spPr bwMode="auto">
              <a:xfrm>
                <a:off x="2376550" y="2259810"/>
                <a:ext cx="0" cy="242313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413" name="Rectangle 412">
              <a:extLst>
                <a:ext uri="{FF2B5EF4-FFF2-40B4-BE49-F238E27FC236}">
                  <a16:creationId xmlns:a16="http://schemas.microsoft.com/office/drawing/2014/main" id="{AB788985-363F-4E89-A7DF-70ECD0DA8B61}"/>
                </a:ext>
              </a:extLst>
            </p:cNvPr>
            <p:cNvSpPr/>
            <p:nvPr/>
          </p:nvSpPr>
          <p:spPr bwMode="auto">
            <a:xfrm>
              <a:off x="3547295" y="2646262"/>
              <a:ext cx="426815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PC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14" name="Rectangle 413">
              <a:extLst>
                <a:ext uri="{FF2B5EF4-FFF2-40B4-BE49-F238E27FC236}">
                  <a16:creationId xmlns:a16="http://schemas.microsoft.com/office/drawing/2014/main" id="{9581BE2B-DBE8-44E6-9279-4E977B5D9E13}"/>
                </a:ext>
              </a:extLst>
            </p:cNvPr>
            <p:cNvSpPr/>
            <p:nvPr/>
          </p:nvSpPr>
          <p:spPr bwMode="auto">
            <a:xfrm>
              <a:off x="2985685" y="2646262"/>
              <a:ext cx="426815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UDM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15" name="Rectangle 414">
              <a:extLst>
                <a:ext uri="{FF2B5EF4-FFF2-40B4-BE49-F238E27FC236}">
                  <a16:creationId xmlns:a16="http://schemas.microsoft.com/office/drawing/2014/main" id="{9E7870EB-551D-4150-8172-066E80043343}"/>
                </a:ext>
              </a:extLst>
            </p:cNvPr>
            <p:cNvSpPr/>
            <p:nvPr/>
          </p:nvSpPr>
          <p:spPr bwMode="auto">
            <a:xfrm>
              <a:off x="4159768" y="2646262"/>
              <a:ext cx="426815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IMS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grpSp>
          <p:nvGrpSpPr>
            <p:cNvPr id="416" name="Group 415">
              <a:extLst>
                <a:ext uri="{FF2B5EF4-FFF2-40B4-BE49-F238E27FC236}">
                  <a16:creationId xmlns:a16="http://schemas.microsoft.com/office/drawing/2014/main" id="{DA868BA1-B91C-402B-851C-CE99FB4254EE}"/>
                </a:ext>
              </a:extLst>
            </p:cNvPr>
            <p:cNvGrpSpPr/>
            <p:nvPr/>
          </p:nvGrpSpPr>
          <p:grpSpPr>
            <a:xfrm>
              <a:off x="3172417" y="2802734"/>
              <a:ext cx="53352" cy="265616"/>
              <a:chOff x="2340546" y="2214091"/>
              <a:chExt cx="72008" cy="288032"/>
            </a:xfrm>
          </p:grpSpPr>
          <p:sp>
            <p:nvSpPr>
              <p:cNvPr id="507" name="Oval 506">
                <a:extLst>
                  <a:ext uri="{FF2B5EF4-FFF2-40B4-BE49-F238E27FC236}">
                    <a16:creationId xmlns:a16="http://schemas.microsoft.com/office/drawing/2014/main" id="{C62DF15E-EFCA-439C-8A7E-D6A4963428D5}"/>
                  </a:ext>
                </a:extLst>
              </p:cNvPr>
              <p:cNvSpPr/>
              <p:nvPr/>
            </p:nvSpPr>
            <p:spPr bwMode="auto">
              <a:xfrm>
                <a:off x="2340546" y="2214091"/>
                <a:ext cx="72008" cy="45719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76050" marR="0" lvl="0" indent="-17605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900" b="1" i="1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cxnSp>
            <p:nvCxnSpPr>
              <p:cNvPr id="508" name="Straight Connector 507">
                <a:extLst>
                  <a:ext uri="{FF2B5EF4-FFF2-40B4-BE49-F238E27FC236}">
                    <a16:creationId xmlns:a16="http://schemas.microsoft.com/office/drawing/2014/main" id="{1A3A33AB-84F2-4ACC-B08D-9B913E704567}"/>
                  </a:ext>
                </a:extLst>
              </p:cNvPr>
              <p:cNvCxnSpPr>
                <a:cxnSpLocks/>
                <a:stCxn id="507" idx="4"/>
              </p:cNvCxnSpPr>
              <p:nvPr/>
            </p:nvCxnSpPr>
            <p:spPr bwMode="auto">
              <a:xfrm>
                <a:off x="2376550" y="2259810"/>
                <a:ext cx="0" cy="242313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17" name="Group 416">
              <a:extLst>
                <a:ext uri="{FF2B5EF4-FFF2-40B4-BE49-F238E27FC236}">
                  <a16:creationId xmlns:a16="http://schemas.microsoft.com/office/drawing/2014/main" id="{685EC936-B61D-4A81-B405-D65BCB28CFA3}"/>
                </a:ext>
              </a:extLst>
            </p:cNvPr>
            <p:cNvGrpSpPr/>
            <p:nvPr/>
          </p:nvGrpSpPr>
          <p:grpSpPr>
            <a:xfrm>
              <a:off x="3734027" y="2802734"/>
              <a:ext cx="53352" cy="265616"/>
              <a:chOff x="2340546" y="2214091"/>
              <a:chExt cx="72008" cy="288032"/>
            </a:xfrm>
          </p:grpSpPr>
          <p:sp>
            <p:nvSpPr>
              <p:cNvPr id="505" name="Oval 504">
                <a:extLst>
                  <a:ext uri="{FF2B5EF4-FFF2-40B4-BE49-F238E27FC236}">
                    <a16:creationId xmlns:a16="http://schemas.microsoft.com/office/drawing/2014/main" id="{1DDF9D72-0B78-4C3F-80A7-BA5085A9E613}"/>
                  </a:ext>
                </a:extLst>
              </p:cNvPr>
              <p:cNvSpPr/>
              <p:nvPr/>
            </p:nvSpPr>
            <p:spPr bwMode="auto">
              <a:xfrm>
                <a:off x="2340546" y="2214091"/>
                <a:ext cx="72008" cy="45719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76050" marR="0" lvl="0" indent="-17605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900" b="1" i="1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cxnSp>
            <p:nvCxnSpPr>
              <p:cNvPr id="506" name="Straight Connector 505">
                <a:extLst>
                  <a:ext uri="{FF2B5EF4-FFF2-40B4-BE49-F238E27FC236}">
                    <a16:creationId xmlns:a16="http://schemas.microsoft.com/office/drawing/2014/main" id="{B8BCF6AF-4A77-472C-89DD-3E77DE358965}"/>
                  </a:ext>
                </a:extLst>
              </p:cNvPr>
              <p:cNvCxnSpPr>
                <a:cxnSpLocks/>
                <a:stCxn id="505" idx="4"/>
              </p:cNvCxnSpPr>
              <p:nvPr/>
            </p:nvCxnSpPr>
            <p:spPr bwMode="auto">
              <a:xfrm>
                <a:off x="2376550" y="2259810"/>
                <a:ext cx="0" cy="242313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C4D9A27A-8976-45D7-82F7-D6DB0BF9664A}"/>
                </a:ext>
              </a:extLst>
            </p:cNvPr>
            <p:cNvGrpSpPr/>
            <p:nvPr/>
          </p:nvGrpSpPr>
          <p:grpSpPr>
            <a:xfrm>
              <a:off x="2494360" y="2652064"/>
              <a:ext cx="524910" cy="422088"/>
              <a:chOff x="2762773" y="1782043"/>
              <a:chExt cx="708463" cy="457709"/>
            </a:xfrm>
          </p:grpSpPr>
          <p:sp>
            <p:nvSpPr>
              <p:cNvPr id="500" name="Rectangle 499">
                <a:extLst>
                  <a:ext uri="{FF2B5EF4-FFF2-40B4-BE49-F238E27FC236}">
                    <a16:creationId xmlns:a16="http://schemas.microsoft.com/office/drawing/2014/main" id="{504AE747-186F-4BD3-9D39-E54E24DF1DE0}"/>
                  </a:ext>
                </a:extLst>
              </p:cNvPr>
              <p:cNvSpPr/>
              <p:nvPr/>
            </p:nvSpPr>
            <p:spPr bwMode="auto">
              <a:xfrm>
                <a:off x="2762773" y="1782043"/>
                <a:ext cx="576064" cy="216024"/>
              </a:xfrm>
              <a:prstGeom prst="rect">
                <a:avLst/>
              </a:prstGeom>
              <a:solidFill>
                <a:srgbClr val="00B05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E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grpSp>
            <p:nvGrpSpPr>
              <p:cNvPr id="501" name="Group 500">
                <a:extLst>
                  <a:ext uri="{FF2B5EF4-FFF2-40B4-BE49-F238E27FC236}">
                    <a16:creationId xmlns:a16="http://schemas.microsoft.com/office/drawing/2014/main" id="{0F5B65B9-DAEC-434C-A281-C757D4EAA183}"/>
                  </a:ext>
                </a:extLst>
              </p:cNvPr>
              <p:cNvGrpSpPr/>
              <p:nvPr/>
            </p:nvGrpSpPr>
            <p:grpSpPr>
              <a:xfrm>
                <a:off x="3014801" y="1951720"/>
                <a:ext cx="72008" cy="288032"/>
                <a:chOff x="2340546" y="2214091"/>
                <a:chExt cx="72008" cy="288032"/>
              </a:xfrm>
            </p:grpSpPr>
            <p:sp>
              <p:nvSpPr>
                <p:cNvPr id="503" name="Oval 502">
                  <a:extLst>
                    <a:ext uri="{FF2B5EF4-FFF2-40B4-BE49-F238E27FC236}">
                      <a16:creationId xmlns:a16="http://schemas.microsoft.com/office/drawing/2014/main" id="{E8C89E69-9621-4888-9351-925CA6D5DD65}"/>
                    </a:ext>
                  </a:extLst>
                </p:cNvPr>
                <p:cNvSpPr/>
                <p:nvPr/>
              </p:nvSpPr>
              <p:spPr bwMode="auto">
                <a:xfrm>
                  <a:off x="2340546" y="2214091"/>
                  <a:ext cx="72008" cy="45719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76050" marR="0" lvl="0" indent="-176050" algn="ctr" defTabSz="1018232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 typeface="Wingdings" pitchFamily="2" charset="2"/>
                    <a:buChar char="n"/>
                    <a:tabLst/>
                    <a:defRPr/>
                  </a:pPr>
                  <a:endParaRPr kumimoji="0" lang="zh-CN" altLang="en-US" sz="900" b="1" i="1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endParaRPr>
                </a:p>
              </p:txBody>
            </p:sp>
            <p:cxnSp>
              <p:nvCxnSpPr>
                <p:cNvPr id="504" name="Straight Connector 503">
                  <a:extLst>
                    <a:ext uri="{FF2B5EF4-FFF2-40B4-BE49-F238E27FC236}">
                      <a16:creationId xmlns:a16="http://schemas.microsoft.com/office/drawing/2014/main" id="{911CF30A-9678-44A3-9054-87490A45ADCD}"/>
                    </a:ext>
                  </a:extLst>
                </p:cNvPr>
                <p:cNvCxnSpPr>
                  <a:cxnSpLocks/>
                  <a:stCxn id="503" idx="4"/>
                </p:cNvCxnSpPr>
                <p:nvPr/>
              </p:nvCxnSpPr>
              <p:spPr bwMode="auto">
                <a:xfrm>
                  <a:off x="2376550" y="2259810"/>
                  <a:ext cx="0" cy="242313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502" name="Rectangle 501">
                <a:extLst>
                  <a:ext uri="{FF2B5EF4-FFF2-40B4-BE49-F238E27FC236}">
                    <a16:creationId xmlns:a16="http://schemas.microsoft.com/office/drawing/2014/main" id="{9924D105-1D6A-4FC9-A1F0-1A6523E98C22}"/>
                  </a:ext>
                </a:extLst>
              </p:cNvPr>
              <p:cNvSpPr/>
              <p:nvPr/>
            </p:nvSpPr>
            <p:spPr bwMode="auto">
              <a:xfrm>
                <a:off x="2967180" y="2040353"/>
                <a:ext cx="504056" cy="15711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ne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</p:grpSp>
        <p:sp>
          <p:nvSpPr>
            <p:cNvPr id="419" name="Rectangle 418">
              <a:extLst>
                <a:ext uri="{FF2B5EF4-FFF2-40B4-BE49-F238E27FC236}">
                  <a16:creationId xmlns:a16="http://schemas.microsoft.com/office/drawing/2014/main" id="{9CFE16F5-72C2-459E-994B-1D6C193B4445}"/>
                </a:ext>
              </a:extLst>
            </p:cNvPr>
            <p:cNvSpPr/>
            <p:nvPr/>
          </p:nvSpPr>
          <p:spPr bwMode="auto">
            <a:xfrm>
              <a:off x="1162625" y="2899824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nss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20" name="Rectangle 419">
              <a:extLst>
                <a:ext uri="{FF2B5EF4-FFF2-40B4-BE49-F238E27FC236}">
                  <a16:creationId xmlns:a16="http://schemas.microsoft.com/office/drawing/2014/main" id="{F0AE97B1-F8B5-439A-A749-D10C3EA0FC77}"/>
                </a:ext>
              </a:extLst>
            </p:cNvPr>
            <p:cNvSpPr/>
            <p:nvPr/>
          </p:nvSpPr>
          <p:spPr bwMode="auto">
            <a:xfrm>
              <a:off x="3149800" y="2875485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udm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grpSp>
          <p:nvGrpSpPr>
            <p:cNvPr id="421" name="Group 420">
              <a:extLst>
                <a:ext uri="{FF2B5EF4-FFF2-40B4-BE49-F238E27FC236}">
                  <a16:creationId xmlns:a16="http://schemas.microsoft.com/office/drawing/2014/main" id="{24B51C7A-D581-42E8-9EA9-99D9680675F6}"/>
                </a:ext>
              </a:extLst>
            </p:cNvPr>
            <p:cNvGrpSpPr/>
            <p:nvPr/>
          </p:nvGrpSpPr>
          <p:grpSpPr>
            <a:xfrm>
              <a:off x="1517991" y="2652804"/>
              <a:ext cx="546021" cy="422088"/>
              <a:chOff x="3464630" y="1782043"/>
              <a:chExt cx="736955" cy="457709"/>
            </a:xfrm>
          </p:grpSpPr>
          <p:sp>
            <p:nvSpPr>
              <p:cNvPr id="495" name="Rectangle 494">
                <a:extLst>
                  <a:ext uri="{FF2B5EF4-FFF2-40B4-BE49-F238E27FC236}">
                    <a16:creationId xmlns:a16="http://schemas.microsoft.com/office/drawing/2014/main" id="{557DCD48-DE81-4145-8869-A05F31EB076E}"/>
                  </a:ext>
                </a:extLst>
              </p:cNvPr>
              <p:cNvSpPr/>
              <p:nvPr/>
            </p:nvSpPr>
            <p:spPr bwMode="auto">
              <a:xfrm>
                <a:off x="3464630" y="1782043"/>
                <a:ext cx="576064" cy="216024"/>
              </a:xfrm>
              <a:prstGeom prst="rect">
                <a:avLst/>
              </a:prstGeom>
              <a:solidFill>
                <a:srgbClr val="00206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R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grpSp>
            <p:nvGrpSpPr>
              <p:cNvPr id="496" name="Group 495">
                <a:extLst>
                  <a:ext uri="{FF2B5EF4-FFF2-40B4-BE49-F238E27FC236}">
                    <a16:creationId xmlns:a16="http://schemas.microsoft.com/office/drawing/2014/main" id="{E8957F1C-6BB0-4E34-BDE0-4B9FEC09F9D1}"/>
                  </a:ext>
                </a:extLst>
              </p:cNvPr>
              <p:cNvGrpSpPr/>
              <p:nvPr/>
            </p:nvGrpSpPr>
            <p:grpSpPr>
              <a:xfrm>
                <a:off x="3716658" y="1951720"/>
                <a:ext cx="72008" cy="288032"/>
                <a:chOff x="2340546" y="2214091"/>
                <a:chExt cx="72008" cy="288032"/>
              </a:xfrm>
            </p:grpSpPr>
            <p:sp>
              <p:nvSpPr>
                <p:cNvPr id="498" name="Oval 497">
                  <a:extLst>
                    <a:ext uri="{FF2B5EF4-FFF2-40B4-BE49-F238E27FC236}">
                      <a16:creationId xmlns:a16="http://schemas.microsoft.com/office/drawing/2014/main" id="{59432239-9717-4881-955D-09B371BD3421}"/>
                    </a:ext>
                  </a:extLst>
                </p:cNvPr>
                <p:cNvSpPr/>
                <p:nvPr/>
              </p:nvSpPr>
              <p:spPr bwMode="auto">
                <a:xfrm>
                  <a:off x="2340546" y="2214091"/>
                  <a:ext cx="72008" cy="45719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76050" marR="0" lvl="0" indent="-176050" algn="ctr" defTabSz="1018232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 typeface="Wingdings" pitchFamily="2" charset="2"/>
                    <a:buChar char="n"/>
                    <a:tabLst/>
                    <a:defRPr/>
                  </a:pPr>
                  <a:endParaRPr kumimoji="0" lang="zh-CN" altLang="en-US" sz="900" b="1" i="1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endParaRPr>
                </a:p>
              </p:txBody>
            </p:sp>
            <p:cxnSp>
              <p:nvCxnSpPr>
                <p:cNvPr id="499" name="Straight Connector 498">
                  <a:extLst>
                    <a:ext uri="{FF2B5EF4-FFF2-40B4-BE49-F238E27FC236}">
                      <a16:creationId xmlns:a16="http://schemas.microsoft.com/office/drawing/2014/main" id="{3F40AAE8-EA4E-45F9-A16E-6D65F4C9AC25}"/>
                    </a:ext>
                  </a:extLst>
                </p:cNvPr>
                <p:cNvCxnSpPr>
                  <a:cxnSpLocks/>
                  <a:stCxn id="498" idx="4"/>
                </p:cNvCxnSpPr>
                <p:nvPr/>
              </p:nvCxnSpPr>
              <p:spPr bwMode="auto">
                <a:xfrm>
                  <a:off x="2376550" y="2259810"/>
                  <a:ext cx="0" cy="242313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497" name="Rectangle 496">
                <a:extLst>
                  <a:ext uri="{FF2B5EF4-FFF2-40B4-BE49-F238E27FC236}">
                    <a16:creationId xmlns:a16="http://schemas.microsoft.com/office/drawing/2014/main" id="{CB3E5AB2-5E8F-45FC-B542-918243F6FE34}"/>
                  </a:ext>
                </a:extLst>
              </p:cNvPr>
              <p:cNvSpPr/>
              <p:nvPr/>
            </p:nvSpPr>
            <p:spPr bwMode="auto">
              <a:xfrm>
                <a:off x="3697529" y="2040168"/>
                <a:ext cx="504056" cy="15711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nr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</p:grpSp>
        <p:sp>
          <p:nvSpPr>
            <p:cNvPr id="422" name="Rectangle 421">
              <a:extLst>
                <a:ext uri="{FF2B5EF4-FFF2-40B4-BE49-F238E27FC236}">
                  <a16:creationId xmlns:a16="http://schemas.microsoft.com/office/drawing/2014/main" id="{C7F6B3EA-7647-4D53-83B5-42CC7A986D17}"/>
                </a:ext>
              </a:extLst>
            </p:cNvPr>
            <p:cNvSpPr/>
            <p:nvPr/>
          </p:nvSpPr>
          <p:spPr bwMode="auto">
            <a:xfrm>
              <a:off x="3701586" y="2871162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pc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grpSp>
          <p:nvGrpSpPr>
            <p:cNvPr id="423" name="Group 422">
              <a:extLst>
                <a:ext uri="{FF2B5EF4-FFF2-40B4-BE49-F238E27FC236}">
                  <a16:creationId xmlns:a16="http://schemas.microsoft.com/office/drawing/2014/main" id="{B931DFAF-E872-4FB3-A167-DCAF0CA80631}"/>
                </a:ext>
              </a:extLst>
            </p:cNvPr>
            <p:cNvGrpSpPr/>
            <p:nvPr/>
          </p:nvGrpSpPr>
          <p:grpSpPr>
            <a:xfrm>
              <a:off x="2630916" y="3073741"/>
              <a:ext cx="541656" cy="425768"/>
              <a:chOff x="2293117" y="1723131"/>
              <a:chExt cx="731063" cy="461700"/>
            </a:xfrm>
          </p:grpSpPr>
          <p:sp>
            <p:nvSpPr>
              <p:cNvPr id="489" name="Rectangle 488">
                <a:extLst>
                  <a:ext uri="{FF2B5EF4-FFF2-40B4-BE49-F238E27FC236}">
                    <a16:creationId xmlns:a16="http://schemas.microsoft.com/office/drawing/2014/main" id="{E08943C9-2729-4B44-A1A6-ED3C329B90E1}"/>
                  </a:ext>
                </a:extLst>
              </p:cNvPr>
              <p:cNvSpPr/>
              <p:nvPr/>
            </p:nvSpPr>
            <p:spPr bwMode="auto">
              <a:xfrm>
                <a:off x="2293117" y="1968807"/>
                <a:ext cx="576064" cy="216024"/>
              </a:xfrm>
              <a:prstGeom prst="rect">
                <a:avLst/>
              </a:prstGeom>
              <a:solidFill>
                <a:srgbClr val="00206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SM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grpSp>
            <p:nvGrpSpPr>
              <p:cNvPr id="490" name="Group 489">
                <a:extLst>
                  <a:ext uri="{FF2B5EF4-FFF2-40B4-BE49-F238E27FC236}">
                    <a16:creationId xmlns:a16="http://schemas.microsoft.com/office/drawing/2014/main" id="{53AF2CC1-F765-4ED1-8A16-385805A51BEA}"/>
                  </a:ext>
                </a:extLst>
              </p:cNvPr>
              <p:cNvGrpSpPr/>
              <p:nvPr/>
            </p:nvGrpSpPr>
            <p:grpSpPr>
              <a:xfrm>
                <a:off x="2520124" y="1723131"/>
                <a:ext cx="504056" cy="288032"/>
                <a:chOff x="2520124" y="1723131"/>
                <a:chExt cx="504056" cy="288032"/>
              </a:xfrm>
            </p:grpSpPr>
            <p:grpSp>
              <p:nvGrpSpPr>
                <p:cNvPr id="491" name="Group 490">
                  <a:extLst>
                    <a:ext uri="{FF2B5EF4-FFF2-40B4-BE49-F238E27FC236}">
                      <a16:creationId xmlns:a16="http://schemas.microsoft.com/office/drawing/2014/main" id="{38328BBA-37B1-46E2-9335-216BC39B6D56}"/>
                    </a:ext>
                  </a:extLst>
                </p:cNvPr>
                <p:cNvGrpSpPr/>
                <p:nvPr/>
              </p:nvGrpSpPr>
              <p:grpSpPr>
                <a:xfrm rot="10800000">
                  <a:off x="2535459" y="1723131"/>
                  <a:ext cx="72008" cy="288032"/>
                  <a:chOff x="2340546" y="2214091"/>
                  <a:chExt cx="72008" cy="288032"/>
                </a:xfrm>
              </p:grpSpPr>
              <p:sp>
                <p:nvSpPr>
                  <p:cNvPr id="493" name="Oval 492">
                    <a:extLst>
                      <a:ext uri="{FF2B5EF4-FFF2-40B4-BE49-F238E27FC236}">
                        <a16:creationId xmlns:a16="http://schemas.microsoft.com/office/drawing/2014/main" id="{4D3548BF-6043-4B68-B083-A2D112CE10F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340546" y="2214091"/>
                    <a:ext cx="72008" cy="45719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rgbClr val="00206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176050" marR="0" lvl="0" indent="-176050" algn="ctr" defTabSz="1018232" rtl="0" eaLnBrk="1" fontAlgn="base" latinLnBrk="0" hangingPunct="1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0"/>
                      </a:spcAft>
                      <a:buClrTx/>
                      <a:buSzPct val="80000"/>
                      <a:buFont typeface="Wingdings" pitchFamily="2" charset="2"/>
                      <a:buChar char="n"/>
                      <a:tabLst/>
                      <a:defRPr/>
                    </a:pPr>
                    <a:endParaRPr kumimoji="0" lang="zh-CN" altLang="en-US" sz="900" b="1" i="1" u="none" strike="noStrike" kern="120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等线" panose="02010600030101010101" pitchFamily="2" charset="-122"/>
                      <a:ea typeface="等线" panose="02010600030101010101" pitchFamily="2" charset="-122"/>
                    </a:endParaRPr>
                  </a:p>
                </p:txBody>
              </p:sp>
              <p:cxnSp>
                <p:nvCxnSpPr>
                  <p:cNvPr id="494" name="Straight Connector 493">
                    <a:extLst>
                      <a:ext uri="{FF2B5EF4-FFF2-40B4-BE49-F238E27FC236}">
                        <a16:creationId xmlns:a16="http://schemas.microsoft.com/office/drawing/2014/main" id="{17E7F8AB-F0DB-44CE-B2D3-D2CDC964CD67}"/>
                      </a:ext>
                    </a:extLst>
                  </p:cNvPr>
                  <p:cNvCxnSpPr>
                    <a:cxnSpLocks/>
                    <a:stCxn id="493" idx="4"/>
                  </p:cNvCxnSpPr>
                  <p:nvPr/>
                </p:nvCxnSpPr>
                <p:spPr bwMode="auto">
                  <a:xfrm>
                    <a:off x="2376550" y="2259810"/>
                    <a:ext cx="0" cy="242313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00206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492" name="Rectangle 491">
                  <a:extLst>
                    <a:ext uri="{FF2B5EF4-FFF2-40B4-BE49-F238E27FC236}">
                      <a16:creationId xmlns:a16="http://schemas.microsoft.com/office/drawing/2014/main" id="{2270F193-1D2B-4BAC-BAE8-3982EFAF3016}"/>
                    </a:ext>
                  </a:extLst>
                </p:cNvPr>
                <p:cNvSpPr/>
                <p:nvPr/>
              </p:nvSpPr>
              <p:spPr bwMode="auto">
                <a:xfrm>
                  <a:off x="2520124" y="1793452"/>
                  <a:ext cx="504056" cy="157113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1018232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Tx/>
                    <a:buNone/>
                    <a:tabLst/>
                    <a:defRPr/>
                  </a:pPr>
                  <a:r>
                    <a:rPr kumimoji="0" lang="en-US" altLang="zh-CN" sz="9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等线" panose="02010600030101010101" pitchFamily="2" charset="-122"/>
                      <a:ea typeface="等线" panose="02010600030101010101" pitchFamily="2" charset="-122"/>
                    </a:rPr>
                    <a:t>Nsmf</a:t>
                  </a:r>
                  <a:endParaRPr kumimoji="0" lang="zh-CN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endParaRPr>
                </a:p>
              </p:txBody>
            </p:sp>
          </p:grpSp>
        </p:grpSp>
        <p:grpSp>
          <p:nvGrpSpPr>
            <p:cNvPr id="424" name="Group 423">
              <a:extLst>
                <a:ext uri="{FF2B5EF4-FFF2-40B4-BE49-F238E27FC236}">
                  <a16:creationId xmlns:a16="http://schemas.microsoft.com/office/drawing/2014/main" id="{93DE196C-1546-4B88-AAF4-B63389371654}"/>
                </a:ext>
              </a:extLst>
            </p:cNvPr>
            <p:cNvGrpSpPr/>
            <p:nvPr/>
          </p:nvGrpSpPr>
          <p:grpSpPr>
            <a:xfrm>
              <a:off x="2130549" y="3068484"/>
              <a:ext cx="532645" cy="432496"/>
              <a:chOff x="1116410" y="1715835"/>
              <a:chExt cx="718901" cy="468996"/>
            </a:xfrm>
          </p:grpSpPr>
          <p:sp>
            <p:nvSpPr>
              <p:cNvPr id="483" name="Rectangle 482">
                <a:extLst>
                  <a:ext uri="{FF2B5EF4-FFF2-40B4-BE49-F238E27FC236}">
                    <a16:creationId xmlns:a16="http://schemas.microsoft.com/office/drawing/2014/main" id="{86F2173F-6D28-4CAE-8E39-E4AB2D121AD4}"/>
                  </a:ext>
                </a:extLst>
              </p:cNvPr>
              <p:cNvSpPr/>
              <p:nvPr/>
            </p:nvSpPr>
            <p:spPr bwMode="auto">
              <a:xfrm>
                <a:off x="1116410" y="1968807"/>
                <a:ext cx="576064" cy="216024"/>
              </a:xfrm>
              <a:prstGeom prst="rect">
                <a:avLst/>
              </a:prstGeom>
              <a:solidFill>
                <a:srgbClr val="00206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AM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grpSp>
            <p:nvGrpSpPr>
              <p:cNvPr id="484" name="Group 483">
                <a:extLst>
                  <a:ext uri="{FF2B5EF4-FFF2-40B4-BE49-F238E27FC236}">
                    <a16:creationId xmlns:a16="http://schemas.microsoft.com/office/drawing/2014/main" id="{AA8C877C-2CED-487A-AD69-93062DBE8798}"/>
                  </a:ext>
                </a:extLst>
              </p:cNvPr>
              <p:cNvGrpSpPr/>
              <p:nvPr/>
            </p:nvGrpSpPr>
            <p:grpSpPr>
              <a:xfrm>
                <a:off x="1331255" y="1715835"/>
                <a:ext cx="504056" cy="288032"/>
                <a:chOff x="1331255" y="1715835"/>
                <a:chExt cx="504056" cy="288032"/>
              </a:xfrm>
            </p:grpSpPr>
            <p:grpSp>
              <p:nvGrpSpPr>
                <p:cNvPr id="485" name="Group 484">
                  <a:extLst>
                    <a:ext uri="{FF2B5EF4-FFF2-40B4-BE49-F238E27FC236}">
                      <a16:creationId xmlns:a16="http://schemas.microsoft.com/office/drawing/2014/main" id="{46AFD8FF-0CFC-4AFE-B0F9-D43281C0ACEF}"/>
                    </a:ext>
                  </a:extLst>
                </p:cNvPr>
                <p:cNvGrpSpPr/>
                <p:nvPr/>
              </p:nvGrpSpPr>
              <p:grpSpPr>
                <a:xfrm rot="10800000">
                  <a:off x="1368438" y="1715835"/>
                  <a:ext cx="72008" cy="288032"/>
                  <a:chOff x="2340546" y="2214091"/>
                  <a:chExt cx="72008" cy="288032"/>
                </a:xfrm>
              </p:grpSpPr>
              <p:sp>
                <p:nvSpPr>
                  <p:cNvPr id="487" name="Oval 486">
                    <a:extLst>
                      <a:ext uri="{FF2B5EF4-FFF2-40B4-BE49-F238E27FC236}">
                        <a16:creationId xmlns:a16="http://schemas.microsoft.com/office/drawing/2014/main" id="{8E3A0F17-C069-4FCD-AF59-D6ADC39BC12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340546" y="2214091"/>
                    <a:ext cx="72008" cy="45719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rgbClr val="00206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176050" marR="0" lvl="0" indent="-176050" algn="ctr" defTabSz="1018232" rtl="0" eaLnBrk="1" fontAlgn="base" latinLnBrk="0" hangingPunct="1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0"/>
                      </a:spcAft>
                      <a:buClrTx/>
                      <a:buSzPct val="80000"/>
                      <a:buFont typeface="Wingdings" pitchFamily="2" charset="2"/>
                      <a:buChar char="n"/>
                      <a:tabLst/>
                      <a:defRPr/>
                    </a:pPr>
                    <a:endParaRPr kumimoji="0" lang="zh-CN" altLang="en-US" sz="900" b="1" i="1" u="none" strike="noStrike" kern="120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等线" panose="02010600030101010101" pitchFamily="2" charset="-122"/>
                      <a:ea typeface="等线" panose="02010600030101010101" pitchFamily="2" charset="-122"/>
                    </a:endParaRPr>
                  </a:p>
                </p:txBody>
              </p:sp>
              <p:cxnSp>
                <p:nvCxnSpPr>
                  <p:cNvPr id="488" name="Straight Connector 487">
                    <a:extLst>
                      <a:ext uri="{FF2B5EF4-FFF2-40B4-BE49-F238E27FC236}">
                        <a16:creationId xmlns:a16="http://schemas.microsoft.com/office/drawing/2014/main" id="{01C07872-776E-40F0-BC86-F8AD33A30973}"/>
                      </a:ext>
                    </a:extLst>
                  </p:cNvPr>
                  <p:cNvCxnSpPr>
                    <a:cxnSpLocks/>
                    <a:stCxn id="487" idx="4"/>
                  </p:cNvCxnSpPr>
                  <p:nvPr/>
                </p:nvCxnSpPr>
                <p:spPr bwMode="auto">
                  <a:xfrm>
                    <a:off x="2376550" y="2259810"/>
                    <a:ext cx="0" cy="242313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00206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486" name="Rectangle 485">
                  <a:extLst>
                    <a:ext uri="{FF2B5EF4-FFF2-40B4-BE49-F238E27FC236}">
                      <a16:creationId xmlns:a16="http://schemas.microsoft.com/office/drawing/2014/main" id="{E78A7CB9-BB15-49C0-93C8-E5D4084B78CB}"/>
                    </a:ext>
                  </a:extLst>
                </p:cNvPr>
                <p:cNvSpPr/>
                <p:nvPr/>
              </p:nvSpPr>
              <p:spPr bwMode="auto">
                <a:xfrm>
                  <a:off x="1331255" y="1796976"/>
                  <a:ext cx="504056" cy="157113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1018232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Tx/>
                    <a:buNone/>
                    <a:tabLst/>
                    <a:defRPr/>
                  </a:pPr>
                  <a:r>
                    <a:rPr kumimoji="0" lang="en-US" altLang="zh-CN" sz="9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等线" panose="02010600030101010101" pitchFamily="2" charset="-122"/>
                      <a:ea typeface="等线" panose="02010600030101010101" pitchFamily="2" charset="-122"/>
                    </a:rPr>
                    <a:t>Namf</a:t>
                  </a:r>
                  <a:endParaRPr kumimoji="0" lang="zh-CN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endParaRPr>
                </a:p>
              </p:txBody>
            </p:sp>
          </p:grpSp>
        </p:grpSp>
        <p:grpSp>
          <p:nvGrpSpPr>
            <p:cNvPr id="425" name="Group 424">
              <a:extLst>
                <a:ext uri="{FF2B5EF4-FFF2-40B4-BE49-F238E27FC236}">
                  <a16:creationId xmlns:a16="http://schemas.microsoft.com/office/drawing/2014/main" id="{AE047C6F-653F-4646-8F02-3EDA0AF47CDE}"/>
                </a:ext>
              </a:extLst>
            </p:cNvPr>
            <p:cNvGrpSpPr/>
            <p:nvPr/>
          </p:nvGrpSpPr>
          <p:grpSpPr>
            <a:xfrm>
              <a:off x="996509" y="3067013"/>
              <a:ext cx="540937" cy="432496"/>
              <a:chOff x="3468672" y="1715835"/>
              <a:chExt cx="730092" cy="468996"/>
            </a:xfrm>
          </p:grpSpPr>
          <p:sp>
            <p:nvSpPr>
              <p:cNvPr id="477" name="Rectangle 476">
                <a:extLst>
                  <a:ext uri="{FF2B5EF4-FFF2-40B4-BE49-F238E27FC236}">
                    <a16:creationId xmlns:a16="http://schemas.microsoft.com/office/drawing/2014/main" id="{3060E2B0-E6BD-40BA-A70E-4DDF61D2D645}"/>
                  </a:ext>
                </a:extLst>
              </p:cNvPr>
              <p:cNvSpPr/>
              <p:nvPr/>
            </p:nvSpPr>
            <p:spPr bwMode="auto">
              <a:xfrm>
                <a:off x="3468672" y="1968807"/>
                <a:ext cx="576064" cy="216024"/>
              </a:xfrm>
              <a:prstGeom prst="rect">
                <a:avLst/>
              </a:prstGeom>
              <a:solidFill>
                <a:srgbClr val="00206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AUS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grpSp>
            <p:nvGrpSpPr>
              <p:cNvPr id="478" name="Group 477">
                <a:extLst>
                  <a:ext uri="{FF2B5EF4-FFF2-40B4-BE49-F238E27FC236}">
                    <a16:creationId xmlns:a16="http://schemas.microsoft.com/office/drawing/2014/main" id="{8543EA8E-40D9-4834-8A0B-45312E656D3A}"/>
                  </a:ext>
                </a:extLst>
              </p:cNvPr>
              <p:cNvGrpSpPr/>
              <p:nvPr/>
            </p:nvGrpSpPr>
            <p:grpSpPr>
              <a:xfrm>
                <a:off x="3694708" y="1715835"/>
                <a:ext cx="504056" cy="288032"/>
                <a:chOff x="3694708" y="1715835"/>
                <a:chExt cx="504056" cy="288032"/>
              </a:xfrm>
            </p:grpSpPr>
            <p:grpSp>
              <p:nvGrpSpPr>
                <p:cNvPr id="479" name="Group 478">
                  <a:extLst>
                    <a:ext uri="{FF2B5EF4-FFF2-40B4-BE49-F238E27FC236}">
                      <a16:creationId xmlns:a16="http://schemas.microsoft.com/office/drawing/2014/main" id="{DD47B78B-4AEC-428A-83B3-5E95D0FE3D6F}"/>
                    </a:ext>
                  </a:extLst>
                </p:cNvPr>
                <p:cNvGrpSpPr/>
                <p:nvPr/>
              </p:nvGrpSpPr>
              <p:grpSpPr>
                <a:xfrm rot="10800000">
                  <a:off x="3726036" y="1715835"/>
                  <a:ext cx="72008" cy="288032"/>
                  <a:chOff x="2340546" y="2214091"/>
                  <a:chExt cx="72008" cy="288032"/>
                </a:xfrm>
              </p:grpSpPr>
              <p:sp>
                <p:nvSpPr>
                  <p:cNvPr id="481" name="Oval 480">
                    <a:extLst>
                      <a:ext uri="{FF2B5EF4-FFF2-40B4-BE49-F238E27FC236}">
                        <a16:creationId xmlns:a16="http://schemas.microsoft.com/office/drawing/2014/main" id="{8BA2B8D5-5862-45DD-9AFB-DEA6378EA18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340546" y="2214091"/>
                    <a:ext cx="72008" cy="45719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rgbClr val="00206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176050" marR="0" lvl="0" indent="-176050" algn="ctr" defTabSz="1018232" rtl="0" eaLnBrk="1" fontAlgn="base" latinLnBrk="0" hangingPunct="1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0"/>
                      </a:spcAft>
                      <a:buClrTx/>
                      <a:buSzPct val="80000"/>
                      <a:buFont typeface="Wingdings" pitchFamily="2" charset="2"/>
                      <a:buChar char="n"/>
                      <a:tabLst/>
                      <a:defRPr/>
                    </a:pPr>
                    <a:endParaRPr kumimoji="0" lang="zh-CN" altLang="en-US" sz="900" b="1" i="1" u="none" strike="noStrike" kern="120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等线" panose="02010600030101010101" pitchFamily="2" charset="-122"/>
                      <a:ea typeface="等线" panose="02010600030101010101" pitchFamily="2" charset="-122"/>
                    </a:endParaRPr>
                  </a:p>
                </p:txBody>
              </p:sp>
              <p:cxnSp>
                <p:nvCxnSpPr>
                  <p:cNvPr id="482" name="Straight Connector 481">
                    <a:extLst>
                      <a:ext uri="{FF2B5EF4-FFF2-40B4-BE49-F238E27FC236}">
                        <a16:creationId xmlns:a16="http://schemas.microsoft.com/office/drawing/2014/main" id="{0F36401A-F869-4791-B494-174A6BCE8777}"/>
                      </a:ext>
                    </a:extLst>
                  </p:cNvPr>
                  <p:cNvCxnSpPr>
                    <a:cxnSpLocks/>
                    <a:stCxn id="481" idx="4"/>
                  </p:cNvCxnSpPr>
                  <p:nvPr/>
                </p:nvCxnSpPr>
                <p:spPr bwMode="auto">
                  <a:xfrm>
                    <a:off x="2376550" y="2259810"/>
                    <a:ext cx="0" cy="242313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00206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480" name="Rectangle 479">
                  <a:extLst>
                    <a:ext uri="{FF2B5EF4-FFF2-40B4-BE49-F238E27FC236}">
                      <a16:creationId xmlns:a16="http://schemas.microsoft.com/office/drawing/2014/main" id="{B597D52C-5036-4C1D-B994-A184F619952A}"/>
                    </a:ext>
                  </a:extLst>
                </p:cNvPr>
                <p:cNvSpPr/>
                <p:nvPr/>
              </p:nvSpPr>
              <p:spPr bwMode="auto">
                <a:xfrm>
                  <a:off x="3694708" y="1787604"/>
                  <a:ext cx="504056" cy="157113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1018232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Tx/>
                    <a:buNone/>
                    <a:tabLst/>
                    <a:defRPr/>
                  </a:pPr>
                  <a:r>
                    <a:rPr kumimoji="0" lang="en-US" altLang="zh-CN" sz="9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等线" panose="02010600030101010101" pitchFamily="2" charset="-122"/>
                      <a:ea typeface="等线" panose="02010600030101010101" pitchFamily="2" charset="-122"/>
                    </a:rPr>
                    <a:t>Nausf</a:t>
                  </a:r>
                  <a:endParaRPr kumimoji="0" lang="zh-CN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endParaRPr>
                </a:p>
              </p:txBody>
            </p:sp>
          </p:grpSp>
        </p:grpSp>
        <p:cxnSp>
          <p:nvCxnSpPr>
            <p:cNvPr id="426" name="Straight Connector 425">
              <a:extLst>
                <a:ext uri="{FF2B5EF4-FFF2-40B4-BE49-F238E27FC236}">
                  <a16:creationId xmlns:a16="http://schemas.microsoft.com/office/drawing/2014/main" id="{8D0DB6F0-5A88-4990-AC32-BE12C30F38DA}"/>
                </a:ext>
              </a:extLst>
            </p:cNvPr>
            <p:cNvCxnSpPr>
              <a:cxnSpLocks/>
              <a:stCxn id="406" idx="0"/>
              <a:endCxn id="483" idx="2"/>
            </p:cNvCxnSpPr>
            <p:nvPr/>
          </p:nvCxnSpPr>
          <p:spPr bwMode="auto">
            <a:xfrm flipV="1">
              <a:off x="1216142" y="3500980"/>
              <a:ext cx="1127815" cy="547435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7" name="Straight Connector 426">
              <a:extLst>
                <a:ext uri="{FF2B5EF4-FFF2-40B4-BE49-F238E27FC236}">
                  <a16:creationId xmlns:a16="http://schemas.microsoft.com/office/drawing/2014/main" id="{A1014647-338B-4276-9CD5-DC7D2DF3A657}"/>
                </a:ext>
              </a:extLst>
            </p:cNvPr>
            <p:cNvCxnSpPr>
              <a:cxnSpLocks/>
              <a:stCxn id="407" idx="0"/>
              <a:endCxn id="483" idx="2"/>
            </p:cNvCxnSpPr>
            <p:nvPr/>
          </p:nvCxnSpPr>
          <p:spPr bwMode="auto">
            <a:xfrm flipV="1">
              <a:off x="2075190" y="3500980"/>
              <a:ext cx="268767" cy="547435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8" name="Straight Connector 427">
              <a:extLst>
                <a:ext uri="{FF2B5EF4-FFF2-40B4-BE49-F238E27FC236}">
                  <a16:creationId xmlns:a16="http://schemas.microsoft.com/office/drawing/2014/main" id="{F9608F2D-D21D-4F14-9201-D320A1BDA942}"/>
                </a:ext>
              </a:extLst>
            </p:cNvPr>
            <p:cNvCxnSpPr>
              <a:cxnSpLocks/>
              <a:stCxn id="406" idx="3"/>
              <a:endCxn id="407" idx="1"/>
            </p:cNvCxnSpPr>
            <p:nvPr/>
          </p:nvCxnSpPr>
          <p:spPr bwMode="auto">
            <a:xfrm>
              <a:off x="1429549" y="4148021"/>
              <a:ext cx="432234" cy="0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9" name="Straight Connector 428">
              <a:extLst>
                <a:ext uri="{FF2B5EF4-FFF2-40B4-BE49-F238E27FC236}">
                  <a16:creationId xmlns:a16="http://schemas.microsoft.com/office/drawing/2014/main" id="{E3B9A667-5576-413A-B07F-48426F25F2E7}"/>
                </a:ext>
              </a:extLst>
            </p:cNvPr>
            <p:cNvCxnSpPr>
              <a:cxnSpLocks/>
              <a:stCxn id="407" idx="3"/>
              <a:endCxn id="408" idx="1"/>
            </p:cNvCxnSpPr>
            <p:nvPr/>
          </p:nvCxnSpPr>
          <p:spPr bwMode="auto">
            <a:xfrm>
              <a:off x="2288597" y="4148021"/>
              <a:ext cx="324239" cy="0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0" name="Straight Connector 429">
              <a:extLst>
                <a:ext uri="{FF2B5EF4-FFF2-40B4-BE49-F238E27FC236}">
                  <a16:creationId xmlns:a16="http://schemas.microsoft.com/office/drawing/2014/main" id="{40AC4A48-EA43-427B-8D04-6D8E70DE454E}"/>
                </a:ext>
              </a:extLst>
            </p:cNvPr>
            <p:cNvCxnSpPr>
              <a:cxnSpLocks/>
              <a:stCxn id="408" idx="3"/>
              <a:endCxn id="409" idx="1"/>
            </p:cNvCxnSpPr>
            <p:nvPr/>
          </p:nvCxnSpPr>
          <p:spPr bwMode="auto">
            <a:xfrm>
              <a:off x="3039651" y="4148021"/>
              <a:ext cx="577321" cy="0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1" name="Straight Connector 430">
              <a:extLst>
                <a:ext uri="{FF2B5EF4-FFF2-40B4-BE49-F238E27FC236}">
                  <a16:creationId xmlns:a16="http://schemas.microsoft.com/office/drawing/2014/main" id="{187F5C2C-1831-44EC-A5C6-CBC2F35862F1}"/>
                </a:ext>
              </a:extLst>
            </p:cNvPr>
            <p:cNvCxnSpPr>
              <a:cxnSpLocks/>
              <a:stCxn id="408" idx="0"/>
              <a:endCxn id="489" idx="2"/>
            </p:cNvCxnSpPr>
            <p:nvPr/>
          </p:nvCxnSpPr>
          <p:spPr bwMode="auto">
            <a:xfrm flipV="1">
              <a:off x="2826244" y="3499509"/>
              <a:ext cx="18080" cy="548906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32" name="Rectangle 431">
              <a:extLst>
                <a:ext uri="{FF2B5EF4-FFF2-40B4-BE49-F238E27FC236}">
                  <a16:creationId xmlns:a16="http://schemas.microsoft.com/office/drawing/2014/main" id="{B6C696E9-5EA6-4C33-8E97-D511800F906A}"/>
                </a:ext>
              </a:extLst>
            </p:cNvPr>
            <p:cNvSpPr/>
            <p:nvPr/>
          </p:nvSpPr>
          <p:spPr bwMode="auto">
            <a:xfrm>
              <a:off x="1757087" y="3606751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1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33" name="Rectangle 432">
              <a:extLst>
                <a:ext uri="{FF2B5EF4-FFF2-40B4-BE49-F238E27FC236}">
                  <a16:creationId xmlns:a16="http://schemas.microsoft.com/office/drawing/2014/main" id="{BDE3C73A-47EB-40B1-A1E1-02D2402366D3}"/>
                </a:ext>
              </a:extLst>
            </p:cNvPr>
            <p:cNvSpPr/>
            <p:nvPr/>
          </p:nvSpPr>
          <p:spPr bwMode="auto">
            <a:xfrm>
              <a:off x="2309144" y="3640924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2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34" name="Rectangle 433">
              <a:extLst>
                <a:ext uri="{FF2B5EF4-FFF2-40B4-BE49-F238E27FC236}">
                  <a16:creationId xmlns:a16="http://schemas.microsoft.com/office/drawing/2014/main" id="{45A48A56-01DE-47BF-B212-757CEEC2E0C6}"/>
                </a:ext>
              </a:extLst>
            </p:cNvPr>
            <p:cNvSpPr/>
            <p:nvPr/>
          </p:nvSpPr>
          <p:spPr bwMode="auto">
            <a:xfrm>
              <a:off x="2310034" y="4020635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3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35" name="Rectangle 434">
              <a:extLst>
                <a:ext uri="{FF2B5EF4-FFF2-40B4-BE49-F238E27FC236}">
                  <a16:creationId xmlns:a16="http://schemas.microsoft.com/office/drawing/2014/main" id="{1A86676C-49A3-475F-BEED-BA1297DA202B}"/>
                </a:ext>
              </a:extLst>
            </p:cNvPr>
            <p:cNvSpPr/>
            <p:nvPr/>
          </p:nvSpPr>
          <p:spPr bwMode="auto">
            <a:xfrm>
              <a:off x="2681091" y="3605925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4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36" name="Rectangle 435">
              <a:extLst>
                <a:ext uri="{FF2B5EF4-FFF2-40B4-BE49-F238E27FC236}">
                  <a16:creationId xmlns:a16="http://schemas.microsoft.com/office/drawing/2014/main" id="{27B4C271-673C-4098-B26A-171E125FA09B}"/>
                </a:ext>
              </a:extLst>
            </p:cNvPr>
            <p:cNvSpPr/>
            <p:nvPr/>
          </p:nvSpPr>
          <p:spPr bwMode="auto">
            <a:xfrm>
              <a:off x="3243510" y="4028382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6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37" name="Rectangle 436">
              <a:extLst>
                <a:ext uri="{FF2B5EF4-FFF2-40B4-BE49-F238E27FC236}">
                  <a16:creationId xmlns:a16="http://schemas.microsoft.com/office/drawing/2014/main" id="{CB7AD28C-7A2B-4EE0-8AD2-FAD0C8BFFD3D}"/>
                </a:ext>
              </a:extLst>
            </p:cNvPr>
            <p:cNvSpPr/>
            <p:nvPr/>
          </p:nvSpPr>
          <p:spPr bwMode="auto">
            <a:xfrm>
              <a:off x="3948394" y="3299222"/>
              <a:ext cx="426815" cy="199212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SMS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38" name="Rectangle 437">
              <a:extLst>
                <a:ext uri="{FF2B5EF4-FFF2-40B4-BE49-F238E27FC236}">
                  <a16:creationId xmlns:a16="http://schemas.microsoft.com/office/drawing/2014/main" id="{F4562575-8C66-4F07-BA3F-B6BD11B99523}"/>
                </a:ext>
              </a:extLst>
            </p:cNvPr>
            <p:cNvSpPr/>
            <p:nvPr/>
          </p:nvSpPr>
          <p:spPr bwMode="auto">
            <a:xfrm>
              <a:off x="4067564" y="3133196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sms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39" name="Oval 438">
              <a:extLst>
                <a:ext uri="{FF2B5EF4-FFF2-40B4-BE49-F238E27FC236}">
                  <a16:creationId xmlns:a16="http://schemas.microsoft.com/office/drawing/2014/main" id="{C70D3B29-DD2D-45B2-81EB-FE721ED8A249}"/>
                </a:ext>
              </a:extLst>
            </p:cNvPr>
            <p:cNvSpPr/>
            <p:nvPr/>
          </p:nvSpPr>
          <p:spPr bwMode="auto">
            <a:xfrm rot="10800000">
              <a:off x="4108450" y="3292598"/>
              <a:ext cx="53352" cy="42161"/>
            </a:xfrm>
            <a:prstGeom prst="ellips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76050" marR="0" lvl="0" indent="-17605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 typeface="Wingdings" pitchFamily="2" charset="2"/>
                <a:buChar char="n"/>
                <a:tabLst/>
                <a:defRPr/>
              </a:pPr>
              <a:endParaRPr kumimoji="0" lang="zh-CN" altLang="en-US" sz="900" b="1" i="1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cxnSp>
          <p:nvCxnSpPr>
            <p:cNvPr id="440" name="Straight Connector 439">
              <a:extLst>
                <a:ext uri="{FF2B5EF4-FFF2-40B4-BE49-F238E27FC236}">
                  <a16:creationId xmlns:a16="http://schemas.microsoft.com/office/drawing/2014/main" id="{49470FF1-A2DF-4247-8D4C-F760CB88AAC2}"/>
                </a:ext>
              </a:extLst>
            </p:cNvPr>
            <p:cNvCxnSpPr>
              <a:cxnSpLocks/>
              <a:stCxn id="439" idx="4"/>
            </p:cNvCxnSpPr>
            <p:nvPr/>
          </p:nvCxnSpPr>
          <p:spPr bwMode="auto">
            <a:xfrm rot="10800000">
              <a:off x="4135126" y="3069143"/>
              <a:ext cx="0" cy="223455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41" name="Rectangle 440">
              <a:extLst>
                <a:ext uri="{FF2B5EF4-FFF2-40B4-BE49-F238E27FC236}">
                  <a16:creationId xmlns:a16="http://schemas.microsoft.com/office/drawing/2014/main" id="{DB3044BD-8C8A-4035-8B84-8DA7A65E2139}"/>
                </a:ext>
              </a:extLst>
            </p:cNvPr>
            <p:cNvSpPr/>
            <p:nvPr/>
          </p:nvSpPr>
          <p:spPr bwMode="auto">
            <a:xfrm>
              <a:off x="2926914" y="2099279"/>
              <a:ext cx="538938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UDR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42" name="Rectangle 441">
              <a:extLst>
                <a:ext uri="{FF2B5EF4-FFF2-40B4-BE49-F238E27FC236}">
                  <a16:creationId xmlns:a16="http://schemas.microsoft.com/office/drawing/2014/main" id="{F68DF177-A7E1-446B-A392-7EA8D2DE10FD}"/>
                </a:ext>
              </a:extLst>
            </p:cNvPr>
            <p:cNvSpPr/>
            <p:nvPr/>
          </p:nvSpPr>
          <p:spPr bwMode="auto">
            <a:xfrm>
              <a:off x="1245392" y="2140573"/>
              <a:ext cx="439738" cy="199212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UDS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43" name="Rectangle 442">
              <a:extLst>
                <a:ext uri="{FF2B5EF4-FFF2-40B4-BE49-F238E27FC236}">
                  <a16:creationId xmlns:a16="http://schemas.microsoft.com/office/drawing/2014/main" id="{BDCEAB4A-5AA1-462B-A818-409A976D230A}"/>
                </a:ext>
              </a:extLst>
            </p:cNvPr>
            <p:cNvSpPr/>
            <p:nvPr/>
          </p:nvSpPr>
          <p:spPr bwMode="auto">
            <a:xfrm>
              <a:off x="1517991" y="3311071"/>
              <a:ext cx="426815" cy="1992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5G-EIR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44" name="Rectangle 443">
              <a:extLst>
                <a:ext uri="{FF2B5EF4-FFF2-40B4-BE49-F238E27FC236}">
                  <a16:creationId xmlns:a16="http://schemas.microsoft.com/office/drawing/2014/main" id="{CF7AB85D-69A0-4A36-BAC9-E6522A9783EA}"/>
                </a:ext>
              </a:extLst>
            </p:cNvPr>
            <p:cNvSpPr/>
            <p:nvPr/>
          </p:nvSpPr>
          <p:spPr bwMode="auto">
            <a:xfrm>
              <a:off x="3293650" y="2332354"/>
              <a:ext cx="426815" cy="199212"/>
            </a:xfrm>
            <a:prstGeom prst="rect">
              <a:avLst/>
            </a:prstGeom>
            <a:solidFill>
              <a:srgbClr val="7030A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WDA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grpSp>
          <p:nvGrpSpPr>
            <p:cNvPr id="445" name="Group 444">
              <a:extLst>
                <a:ext uri="{FF2B5EF4-FFF2-40B4-BE49-F238E27FC236}">
                  <a16:creationId xmlns:a16="http://schemas.microsoft.com/office/drawing/2014/main" id="{CA57922B-D852-4FFF-838A-D6766983ECD7}"/>
                </a:ext>
              </a:extLst>
            </p:cNvPr>
            <p:cNvGrpSpPr/>
            <p:nvPr/>
          </p:nvGrpSpPr>
          <p:grpSpPr>
            <a:xfrm>
              <a:off x="1412938" y="2330952"/>
              <a:ext cx="373462" cy="750578"/>
              <a:chOff x="1011958" y="1076593"/>
              <a:chExt cx="504056" cy="1456757"/>
            </a:xfrm>
          </p:grpSpPr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D84E1E62-1A1F-4C53-B2CE-23D7FB5EEFC0}"/>
                  </a:ext>
                </a:extLst>
              </p:cNvPr>
              <p:cNvSpPr/>
              <p:nvPr/>
            </p:nvSpPr>
            <p:spPr bwMode="auto">
              <a:xfrm>
                <a:off x="1051649" y="1076593"/>
                <a:ext cx="72008" cy="45719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76050" marR="0" lvl="0" indent="-17605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900" b="1" i="1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cxnSp>
            <p:nvCxnSpPr>
              <p:cNvPr id="475" name="Straight Connector 474">
                <a:extLst>
                  <a:ext uri="{FF2B5EF4-FFF2-40B4-BE49-F238E27FC236}">
                    <a16:creationId xmlns:a16="http://schemas.microsoft.com/office/drawing/2014/main" id="{6607547F-2104-45DA-BDB8-D0CACA8C2E89}"/>
                  </a:ext>
                </a:extLst>
              </p:cNvPr>
              <p:cNvCxnSpPr>
                <a:cxnSpLocks/>
                <a:stCxn id="474" idx="4"/>
              </p:cNvCxnSpPr>
              <p:nvPr/>
            </p:nvCxnSpPr>
            <p:spPr bwMode="auto">
              <a:xfrm>
                <a:off x="1087653" y="1122312"/>
                <a:ext cx="0" cy="1411038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76" name="Rectangle 475">
                <a:extLst>
                  <a:ext uri="{FF2B5EF4-FFF2-40B4-BE49-F238E27FC236}">
                    <a16:creationId xmlns:a16="http://schemas.microsoft.com/office/drawing/2014/main" id="{0782CED2-BC0D-4BFD-A304-A3924ABDEA08}"/>
                  </a:ext>
                </a:extLst>
              </p:cNvPr>
              <p:cNvSpPr/>
              <p:nvPr/>
            </p:nvSpPr>
            <p:spPr bwMode="auto">
              <a:xfrm>
                <a:off x="1011958" y="1170111"/>
                <a:ext cx="504056" cy="15711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uds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</p:grpSp>
        <p:grpSp>
          <p:nvGrpSpPr>
            <p:cNvPr id="446" name="Group 445">
              <a:extLst>
                <a:ext uri="{FF2B5EF4-FFF2-40B4-BE49-F238E27FC236}">
                  <a16:creationId xmlns:a16="http://schemas.microsoft.com/office/drawing/2014/main" id="{41678959-73A2-4F55-BB2B-CEFC3E6F74CE}"/>
                </a:ext>
              </a:extLst>
            </p:cNvPr>
            <p:cNvGrpSpPr/>
            <p:nvPr/>
          </p:nvGrpSpPr>
          <p:grpSpPr>
            <a:xfrm>
              <a:off x="1685130" y="3084573"/>
              <a:ext cx="440000" cy="265616"/>
              <a:chOff x="1386646" y="4320208"/>
              <a:chExt cx="593860" cy="288032"/>
            </a:xfrm>
          </p:grpSpPr>
          <p:grpSp>
            <p:nvGrpSpPr>
              <p:cNvPr id="470" name="Group 469">
                <a:extLst>
                  <a:ext uri="{FF2B5EF4-FFF2-40B4-BE49-F238E27FC236}">
                    <a16:creationId xmlns:a16="http://schemas.microsoft.com/office/drawing/2014/main" id="{6C3B21DF-2BBC-43E1-A512-F008A49F3FC8}"/>
                  </a:ext>
                </a:extLst>
              </p:cNvPr>
              <p:cNvGrpSpPr/>
              <p:nvPr/>
            </p:nvGrpSpPr>
            <p:grpSpPr>
              <a:xfrm rot="10800000">
                <a:off x="1416017" y="4320208"/>
                <a:ext cx="72008" cy="288032"/>
                <a:chOff x="2340546" y="2214091"/>
                <a:chExt cx="72008" cy="288032"/>
              </a:xfrm>
            </p:grpSpPr>
            <p:sp>
              <p:nvSpPr>
                <p:cNvPr id="472" name="Oval 471">
                  <a:extLst>
                    <a:ext uri="{FF2B5EF4-FFF2-40B4-BE49-F238E27FC236}">
                      <a16:creationId xmlns:a16="http://schemas.microsoft.com/office/drawing/2014/main" id="{8A6F6C0B-90B6-4E41-9312-BB62C700701D}"/>
                    </a:ext>
                  </a:extLst>
                </p:cNvPr>
                <p:cNvSpPr/>
                <p:nvPr/>
              </p:nvSpPr>
              <p:spPr bwMode="auto">
                <a:xfrm>
                  <a:off x="2340546" y="2214091"/>
                  <a:ext cx="72008" cy="45719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76050" marR="0" lvl="0" indent="-176050" algn="ctr" defTabSz="1018232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 typeface="Wingdings" pitchFamily="2" charset="2"/>
                    <a:buChar char="n"/>
                    <a:tabLst/>
                    <a:defRPr/>
                  </a:pPr>
                  <a:endParaRPr kumimoji="0" lang="zh-CN" altLang="en-US" sz="900" b="1" i="1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endParaRPr>
                </a:p>
              </p:txBody>
            </p:sp>
            <p:cxnSp>
              <p:nvCxnSpPr>
                <p:cNvPr id="473" name="Straight Connector 472">
                  <a:extLst>
                    <a:ext uri="{FF2B5EF4-FFF2-40B4-BE49-F238E27FC236}">
                      <a16:creationId xmlns:a16="http://schemas.microsoft.com/office/drawing/2014/main" id="{459EE309-C702-4EC9-A823-538B3718F870}"/>
                    </a:ext>
                  </a:extLst>
                </p:cNvPr>
                <p:cNvCxnSpPr>
                  <a:cxnSpLocks/>
                  <a:stCxn id="472" idx="4"/>
                </p:cNvCxnSpPr>
                <p:nvPr/>
              </p:nvCxnSpPr>
              <p:spPr bwMode="auto">
                <a:xfrm>
                  <a:off x="2376550" y="2259810"/>
                  <a:ext cx="0" cy="242313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471" name="Rectangle 470">
                <a:extLst>
                  <a:ext uri="{FF2B5EF4-FFF2-40B4-BE49-F238E27FC236}">
                    <a16:creationId xmlns:a16="http://schemas.microsoft.com/office/drawing/2014/main" id="{509867CB-01D1-4667-B012-580C745BE24C}"/>
                  </a:ext>
                </a:extLst>
              </p:cNvPr>
              <p:cNvSpPr/>
              <p:nvPr/>
            </p:nvSpPr>
            <p:spPr bwMode="auto">
              <a:xfrm>
                <a:off x="1386646" y="4369574"/>
                <a:ext cx="593860" cy="19294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5g-eir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</p:grp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A35ED2BD-CDF1-4A2A-BDDC-8A5303C2A31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973008" y="3840137"/>
              <a:ext cx="3238263" cy="21418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84A39C28-CDE0-4C04-8A96-9925402E5267}"/>
                </a:ext>
              </a:extLst>
            </p:cNvPr>
            <p:cNvGrpSpPr/>
            <p:nvPr/>
          </p:nvGrpSpPr>
          <p:grpSpPr>
            <a:xfrm>
              <a:off x="1003633" y="3380661"/>
              <a:ext cx="1822611" cy="1275557"/>
              <a:chOff x="459527" y="3205130"/>
              <a:chExt cx="2459946" cy="1383206"/>
            </a:xfrm>
          </p:grpSpPr>
          <p:sp>
            <p:nvSpPr>
              <p:cNvPr id="464" name="Rectangle 463">
                <a:extLst>
                  <a:ext uri="{FF2B5EF4-FFF2-40B4-BE49-F238E27FC236}">
                    <a16:creationId xmlns:a16="http://schemas.microsoft.com/office/drawing/2014/main" id="{17CC6907-8C31-4426-B030-F8194607B90E}"/>
                  </a:ext>
                </a:extLst>
              </p:cNvPr>
              <p:cNvSpPr/>
              <p:nvPr/>
            </p:nvSpPr>
            <p:spPr bwMode="auto">
              <a:xfrm>
                <a:off x="1980506" y="4372055"/>
                <a:ext cx="576064" cy="216024"/>
              </a:xfrm>
              <a:prstGeom prst="rect">
                <a:avLst/>
              </a:prstGeom>
              <a:solidFill>
                <a:srgbClr val="7030A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3IW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sp>
            <p:nvSpPr>
              <p:cNvPr id="465" name="Rectangle 464">
                <a:extLst>
                  <a:ext uri="{FF2B5EF4-FFF2-40B4-BE49-F238E27FC236}">
                    <a16:creationId xmlns:a16="http://schemas.microsoft.com/office/drawing/2014/main" id="{793A8D7E-36B7-458D-A9FB-0D711E460812}"/>
                  </a:ext>
                </a:extLst>
              </p:cNvPr>
              <p:cNvSpPr/>
              <p:nvPr/>
            </p:nvSpPr>
            <p:spPr bwMode="auto">
              <a:xfrm>
                <a:off x="459527" y="4372312"/>
                <a:ext cx="576064" cy="216024"/>
              </a:xfrm>
              <a:prstGeom prst="rect">
                <a:avLst/>
              </a:prstGeom>
              <a:solidFill>
                <a:srgbClr val="7030A0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UE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cxnSp>
            <p:nvCxnSpPr>
              <p:cNvPr id="466" name="Straight Connector 465">
                <a:extLst>
                  <a:ext uri="{FF2B5EF4-FFF2-40B4-BE49-F238E27FC236}">
                    <a16:creationId xmlns:a16="http://schemas.microsoft.com/office/drawing/2014/main" id="{CEB20138-C80A-4697-9CFC-B6CCE411FD66}"/>
                  </a:ext>
                </a:extLst>
              </p:cNvPr>
              <p:cNvCxnSpPr>
                <a:cxnSpLocks/>
                <a:stCxn id="464" idx="0"/>
                <a:endCxn id="483" idx="2"/>
              </p:cNvCxnSpPr>
              <p:nvPr/>
            </p:nvCxnSpPr>
            <p:spPr bwMode="auto">
              <a:xfrm flipV="1">
                <a:off x="2268538" y="3205130"/>
                <a:ext cx="0" cy="1166925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7" name="Straight Connector 466">
                <a:extLst>
                  <a:ext uri="{FF2B5EF4-FFF2-40B4-BE49-F238E27FC236}">
                    <a16:creationId xmlns:a16="http://schemas.microsoft.com/office/drawing/2014/main" id="{6F3AE608-9D3C-4FE0-B4BB-4E56493BF2B5}"/>
                  </a:ext>
                </a:extLst>
              </p:cNvPr>
              <p:cNvCxnSpPr>
                <a:cxnSpLocks/>
                <a:stCxn id="465" idx="0"/>
                <a:endCxn id="483" idx="2"/>
              </p:cNvCxnSpPr>
              <p:nvPr/>
            </p:nvCxnSpPr>
            <p:spPr bwMode="auto">
              <a:xfrm flipV="1">
                <a:off x="747559" y="3335603"/>
                <a:ext cx="1520980" cy="1036709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8" name="Straight Connector 467">
                <a:extLst>
                  <a:ext uri="{FF2B5EF4-FFF2-40B4-BE49-F238E27FC236}">
                    <a16:creationId xmlns:a16="http://schemas.microsoft.com/office/drawing/2014/main" id="{719D9DC3-9EB3-44D1-9357-55A9A0DDD31C}"/>
                  </a:ext>
                </a:extLst>
              </p:cNvPr>
              <p:cNvCxnSpPr>
                <a:cxnSpLocks/>
                <a:stCxn id="464" idx="3"/>
                <a:endCxn id="408" idx="2"/>
              </p:cNvCxnSpPr>
              <p:nvPr/>
            </p:nvCxnSpPr>
            <p:spPr bwMode="auto">
              <a:xfrm flipV="1">
                <a:off x="2556569" y="4014789"/>
                <a:ext cx="362904" cy="465278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9" name="Straight Connector 468">
                <a:extLst>
                  <a:ext uri="{FF2B5EF4-FFF2-40B4-BE49-F238E27FC236}">
                    <a16:creationId xmlns:a16="http://schemas.microsoft.com/office/drawing/2014/main" id="{C64F5CF9-B0AF-42F9-A283-DE22186C53A9}"/>
                  </a:ext>
                </a:extLst>
              </p:cNvPr>
              <p:cNvCxnSpPr>
                <a:cxnSpLocks/>
                <a:stCxn id="465" idx="3"/>
                <a:endCxn id="464" idx="1"/>
              </p:cNvCxnSpPr>
              <p:nvPr/>
            </p:nvCxnSpPr>
            <p:spPr bwMode="auto">
              <a:xfrm flipV="1">
                <a:off x="1035591" y="4480067"/>
                <a:ext cx="944915" cy="257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449" name="Rectangle 448">
              <a:extLst>
                <a:ext uri="{FF2B5EF4-FFF2-40B4-BE49-F238E27FC236}">
                  <a16:creationId xmlns:a16="http://schemas.microsoft.com/office/drawing/2014/main" id="{0D01419A-DF39-4984-933D-05E44EBC427A}"/>
                </a:ext>
              </a:extLst>
            </p:cNvPr>
            <p:cNvSpPr/>
            <p:nvPr/>
          </p:nvSpPr>
          <p:spPr bwMode="auto">
            <a:xfrm>
              <a:off x="417600" y="2956622"/>
              <a:ext cx="603765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HTTP Proxy</a:t>
              </a:r>
            </a:p>
          </p:txBody>
        </p:sp>
        <p:sp>
          <p:nvSpPr>
            <p:cNvPr id="450" name="Rectangle 449">
              <a:extLst>
                <a:ext uri="{FF2B5EF4-FFF2-40B4-BE49-F238E27FC236}">
                  <a16:creationId xmlns:a16="http://schemas.microsoft.com/office/drawing/2014/main" id="{D6D18D81-F769-4569-9186-1A526DBE515E}"/>
                </a:ext>
              </a:extLst>
            </p:cNvPr>
            <p:cNvSpPr/>
            <p:nvPr/>
          </p:nvSpPr>
          <p:spPr bwMode="auto">
            <a:xfrm>
              <a:off x="3438244" y="3300297"/>
              <a:ext cx="426815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BS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51" name="Rectangle 450">
              <a:extLst>
                <a:ext uri="{FF2B5EF4-FFF2-40B4-BE49-F238E27FC236}">
                  <a16:creationId xmlns:a16="http://schemas.microsoft.com/office/drawing/2014/main" id="{19F4677A-C506-4650-95D7-5FBEA4E47099}"/>
                </a:ext>
              </a:extLst>
            </p:cNvPr>
            <p:cNvSpPr/>
            <p:nvPr/>
          </p:nvSpPr>
          <p:spPr bwMode="auto">
            <a:xfrm>
              <a:off x="3557413" y="3134271"/>
              <a:ext cx="373462" cy="1448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Nbsf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2FAC4107-ED15-46E6-976B-42550B215C8D}"/>
                </a:ext>
              </a:extLst>
            </p:cNvPr>
            <p:cNvSpPr/>
            <p:nvPr/>
          </p:nvSpPr>
          <p:spPr bwMode="auto">
            <a:xfrm rot="10800000">
              <a:off x="3598300" y="3293674"/>
              <a:ext cx="53352" cy="42161"/>
            </a:xfrm>
            <a:prstGeom prst="ellips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76050" marR="0" lvl="0" indent="-17605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 typeface="Wingdings" pitchFamily="2" charset="2"/>
                <a:buChar char="n"/>
                <a:tabLst/>
                <a:defRPr/>
              </a:pPr>
              <a:endParaRPr kumimoji="0" lang="zh-CN" altLang="en-US" sz="900" b="1" i="1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cxnSp>
          <p:nvCxnSpPr>
            <p:cNvPr id="453" name="Straight Connector 452">
              <a:extLst>
                <a:ext uri="{FF2B5EF4-FFF2-40B4-BE49-F238E27FC236}">
                  <a16:creationId xmlns:a16="http://schemas.microsoft.com/office/drawing/2014/main" id="{93CE53AF-BC93-4CBA-B9EE-86F8BC4BA8E0}"/>
                </a:ext>
              </a:extLst>
            </p:cNvPr>
            <p:cNvCxnSpPr>
              <a:cxnSpLocks/>
              <a:stCxn id="452" idx="4"/>
            </p:cNvCxnSpPr>
            <p:nvPr/>
          </p:nvCxnSpPr>
          <p:spPr bwMode="auto">
            <a:xfrm rot="10800000">
              <a:off x="3624975" y="3070219"/>
              <a:ext cx="0" cy="223455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4" name="Straight Connector 453">
              <a:extLst>
                <a:ext uri="{FF2B5EF4-FFF2-40B4-BE49-F238E27FC236}">
                  <a16:creationId xmlns:a16="http://schemas.microsoft.com/office/drawing/2014/main" id="{F982EF32-3861-4BD2-89C2-206C4A1884DE}"/>
                </a:ext>
              </a:extLst>
            </p:cNvPr>
            <p:cNvCxnSpPr>
              <a:stCxn id="415" idx="1"/>
              <a:endCxn id="413" idx="3"/>
            </p:cNvCxnSpPr>
            <p:nvPr/>
          </p:nvCxnSpPr>
          <p:spPr>
            <a:xfrm flipH="1">
              <a:off x="3974110" y="2745868"/>
              <a:ext cx="185657" cy="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B2BD7C61-6562-4B2A-9EBB-50AB61F15C29}"/>
                </a:ext>
              </a:extLst>
            </p:cNvPr>
            <p:cNvCxnSpPr>
              <a:cxnSpLocks/>
              <a:stCxn id="441" idx="2"/>
              <a:endCxn id="414" idx="0"/>
            </p:cNvCxnSpPr>
            <p:nvPr/>
          </p:nvCxnSpPr>
          <p:spPr>
            <a:xfrm>
              <a:off x="3196384" y="2298491"/>
              <a:ext cx="2709" cy="347771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6" name="Group 455">
              <a:extLst>
                <a:ext uri="{FF2B5EF4-FFF2-40B4-BE49-F238E27FC236}">
                  <a16:creationId xmlns:a16="http://schemas.microsoft.com/office/drawing/2014/main" id="{30ED8EC8-EBBF-4174-93C3-78F1CF9F5929}"/>
                </a:ext>
              </a:extLst>
            </p:cNvPr>
            <p:cNvGrpSpPr/>
            <p:nvPr/>
          </p:nvGrpSpPr>
          <p:grpSpPr>
            <a:xfrm>
              <a:off x="1999495" y="2650327"/>
              <a:ext cx="546021" cy="422088"/>
              <a:chOff x="3464630" y="1782043"/>
              <a:chExt cx="736955" cy="457709"/>
            </a:xfrm>
          </p:grpSpPr>
          <p:sp>
            <p:nvSpPr>
              <p:cNvPr id="459" name="Rectangle 458">
                <a:extLst>
                  <a:ext uri="{FF2B5EF4-FFF2-40B4-BE49-F238E27FC236}">
                    <a16:creationId xmlns:a16="http://schemas.microsoft.com/office/drawing/2014/main" id="{9CBF3D4C-42AA-4BAD-908C-5BF97EBE5867}"/>
                  </a:ext>
                </a:extLst>
              </p:cNvPr>
              <p:cNvSpPr/>
              <p:nvPr/>
            </p:nvSpPr>
            <p:spPr bwMode="auto">
              <a:xfrm>
                <a:off x="3464630" y="1782043"/>
                <a:ext cx="576064" cy="216024"/>
              </a:xfrm>
              <a:prstGeom prst="rect">
                <a:avLst/>
              </a:prstGeom>
              <a:solidFill>
                <a:srgbClr val="7030A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LM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grpSp>
            <p:nvGrpSpPr>
              <p:cNvPr id="460" name="Group 459">
                <a:extLst>
                  <a:ext uri="{FF2B5EF4-FFF2-40B4-BE49-F238E27FC236}">
                    <a16:creationId xmlns:a16="http://schemas.microsoft.com/office/drawing/2014/main" id="{6B7EB518-4DF5-4BD8-8CDE-C743EE5BE386}"/>
                  </a:ext>
                </a:extLst>
              </p:cNvPr>
              <p:cNvGrpSpPr/>
              <p:nvPr/>
            </p:nvGrpSpPr>
            <p:grpSpPr>
              <a:xfrm>
                <a:off x="3716658" y="1951720"/>
                <a:ext cx="72008" cy="288032"/>
                <a:chOff x="2340546" y="2214091"/>
                <a:chExt cx="72008" cy="288032"/>
              </a:xfrm>
            </p:grpSpPr>
            <p:sp>
              <p:nvSpPr>
                <p:cNvPr id="462" name="Oval 461">
                  <a:extLst>
                    <a:ext uri="{FF2B5EF4-FFF2-40B4-BE49-F238E27FC236}">
                      <a16:creationId xmlns:a16="http://schemas.microsoft.com/office/drawing/2014/main" id="{2C39CC93-3427-475B-B0A8-38AB8EA88A06}"/>
                    </a:ext>
                  </a:extLst>
                </p:cNvPr>
                <p:cNvSpPr/>
                <p:nvPr/>
              </p:nvSpPr>
              <p:spPr bwMode="auto">
                <a:xfrm>
                  <a:off x="2340546" y="2214091"/>
                  <a:ext cx="72008" cy="45719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76050" marR="0" lvl="0" indent="-176050" algn="ctr" defTabSz="1018232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 typeface="Wingdings" pitchFamily="2" charset="2"/>
                    <a:buChar char="n"/>
                    <a:tabLst/>
                    <a:defRPr/>
                  </a:pPr>
                  <a:endParaRPr kumimoji="0" lang="zh-CN" altLang="en-US" sz="900" b="1" i="1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endParaRPr>
                </a:p>
              </p:txBody>
            </p:sp>
            <p:cxnSp>
              <p:nvCxnSpPr>
                <p:cNvPr id="463" name="Straight Connector 462">
                  <a:extLst>
                    <a:ext uri="{FF2B5EF4-FFF2-40B4-BE49-F238E27FC236}">
                      <a16:creationId xmlns:a16="http://schemas.microsoft.com/office/drawing/2014/main" id="{694708A7-5B0A-471E-BF3A-54508E989414}"/>
                    </a:ext>
                  </a:extLst>
                </p:cNvPr>
                <p:cNvCxnSpPr>
                  <a:cxnSpLocks/>
                  <a:stCxn id="462" idx="4"/>
                </p:cNvCxnSpPr>
                <p:nvPr/>
              </p:nvCxnSpPr>
              <p:spPr bwMode="auto">
                <a:xfrm>
                  <a:off x="2376550" y="2259810"/>
                  <a:ext cx="0" cy="242313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461" name="Rectangle 460">
                <a:extLst>
                  <a:ext uri="{FF2B5EF4-FFF2-40B4-BE49-F238E27FC236}">
                    <a16:creationId xmlns:a16="http://schemas.microsoft.com/office/drawing/2014/main" id="{DF5A58A4-4363-40D9-A077-FAFB819BDC98}"/>
                  </a:ext>
                </a:extLst>
              </p:cNvPr>
              <p:cNvSpPr/>
              <p:nvPr/>
            </p:nvSpPr>
            <p:spPr bwMode="auto">
              <a:xfrm>
                <a:off x="3697529" y="2040168"/>
                <a:ext cx="504056" cy="15711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232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等线" panose="02010600030101010101" pitchFamily="2" charset="-122"/>
                    <a:ea typeface="等线" panose="02010600030101010101" pitchFamily="2" charset="-122"/>
                  </a:rPr>
                  <a:t>Nlmf</a:t>
                </a:r>
                <a:endPara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</p:grpSp>
        <p:sp>
          <p:nvSpPr>
            <p:cNvPr id="457" name="Rectangle 456">
              <a:extLst>
                <a:ext uri="{FF2B5EF4-FFF2-40B4-BE49-F238E27FC236}">
                  <a16:creationId xmlns:a16="http://schemas.microsoft.com/office/drawing/2014/main" id="{93188EBB-B44B-46AE-AE75-589370ED87D9}"/>
                </a:ext>
              </a:extLst>
            </p:cNvPr>
            <p:cNvSpPr/>
            <p:nvPr/>
          </p:nvSpPr>
          <p:spPr bwMode="auto">
            <a:xfrm>
              <a:off x="3082045" y="3580802"/>
              <a:ext cx="356199" cy="19921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CG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cxnSp>
          <p:nvCxnSpPr>
            <p:cNvPr id="458" name="Straight Connector 457">
              <a:extLst>
                <a:ext uri="{FF2B5EF4-FFF2-40B4-BE49-F238E27FC236}">
                  <a16:creationId xmlns:a16="http://schemas.microsoft.com/office/drawing/2014/main" id="{C27FBA6E-EBA7-491F-9CD6-BFFF33D4EDA4}"/>
                </a:ext>
              </a:extLst>
            </p:cNvPr>
            <p:cNvCxnSpPr>
              <a:cxnSpLocks/>
              <a:stCxn id="457" idx="0"/>
              <a:endCxn id="489" idx="3"/>
            </p:cNvCxnSpPr>
            <p:nvPr/>
          </p:nvCxnSpPr>
          <p:spPr bwMode="auto">
            <a:xfrm flipH="1" flipV="1">
              <a:off x="3057731" y="3399903"/>
              <a:ext cx="202414" cy="180899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11" name="Rectangle 510">
              <a:extLst>
                <a:ext uri="{FF2B5EF4-FFF2-40B4-BE49-F238E27FC236}">
                  <a16:creationId xmlns:a16="http://schemas.microsoft.com/office/drawing/2014/main" id="{192D088E-D15C-4FCA-9AFB-3F7741C6B88F}"/>
                </a:ext>
              </a:extLst>
            </p:cNvPr>
            <p:cNvSpPr/>
            <p:nvPr/>
          </p:nvSpPr>
          <p:spPr bwMode="auto">
            <a:xfrm>
              <a:off x="4366162" y="2961190"/>
              <a:ext cx="492826" cy="199212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32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</a:rPr>
                <a:t>SEPP</a:t>
              </a:r>
            </a:p>
          </p:txBody>
        </p: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BB7593AD-4012-4741-9212-A6FDEADA57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00125" y="2531565"/>
              <a:ext cx="0" cy="543132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D0B967D-40ED-40E1-9E28-BB58E3826007}"/>
              </a:ext>
            </a:extLst>
          </p:cNvPr>
          <p:cNvSpPr/>
          <p:nvPr/>
        </p:nvSpPr>
        <p:spPr bwMode="auto">
          <a:xfrm>
            <a:off x="5052586" y="2281692"/>
            <a:ext cx="3497508" cy="248348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101710" tIns="50854" rIns="101710" bIns="50854" numCol="1" rtlCol="0" anchor="t" anchorCtr="0" compatLnSpc="1">
            <a:prstTxWarp prst="textNoShape">
              <a:avLst/>
            </a:prstTxWarp>
          </a:bodyPr>
          <a:lstStyle/>
          <a:p>
            <a:pPr marL="176073" marR="0" lvl="0" indent="-176073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 typeface="Wingdings" pitchFamily="2" charset="2"/>
              <a:buChar char="n"/>
              <a:tabLst/>
              <a:defRPr/>
            </a:pPr>
            <a:endParaRPr kumimoji="0" lang="zh-CN" altLang="en-US" sz="1799" b="1" i="1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楷体_GB2312" pitchFamily="49" charset="-122"/>
              <a:ea typeface="楷体_GB2312" pitchFamily="49" charset="-122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DBC2354A-012B-4DE7-A0CD-AF19B9F093BD}"/>
              </a:ext>
            </a:extLst>
          </p:cNvPr>
          <p:cNvSpPr/>
          <p:nvPr/>
        </p:nvSpPr>
        <p:spPr bwMode="auto">
          <a:xfrm>
            <a:off x="5258493" y="4165570"/>
            <a:ext cx="575631" cy="215862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UE</a:t>
            </a:r>
            <a:endParaRPr kumimoji="0" lang="zh-CN" altLang="en-US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DACB00C-B44A-419A-8E8D-696736770B66}"/>
              </a:ext>
            </a:extLst>
          </p:cNvPr>
          <p:cNvSpPr/>
          <p:nvPr/>
        </p:nvSpPr>
        <p:spPr bwMode="auto">
          <a:xfrm>
            <a:off x="6417064" y="4165570"/>
            <a:ext cx="575631" cy="215862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999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gNB</a:t>
            </a:r>
            <a:endParaRPr kumimoji="0" lang="zh-CN" altLang="en-US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B09E14F-D6A4-4405-B200-8DEEA8CC22CA}"/>
              </a:ext>
            </a:extLst>
          </p:cNvPr>
          <p:cNvSpPr/>
          <p:nvPr/>
        </p:nvSpPr>
        <p:spPr bwMode="auto">
          <a:xfrm>
            <a:off x="7635678" y="4165570"/>
            <a:ext cx="575631" cy="215862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UPF</a:t>
            </a:r>
            <a:endParaRPr kumimoji="0" lang="zh-CN" altLang="en-US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BE4003F-8B4E-4E6A-95AC-0724085FA4C4}"/>
              </a:ext>
            </a:extLst>
          </p:cNvPr>
          <p:cNvSpPr/>
          <p:nvPr/>
        </p:nvSpPr>
        <p:spPr bwMode="auto">
          <a:xfrm>
            <a:off x="5258493" y="2747299"/>
            <a:ext cx="575631" cy="215862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SSF</a:t>
            </a:r>
            <a:endParaRPr kumimoji="0" lang="zh-CN" altLang="en-US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21BD55C6-8726-457E-B2B4-39E6C7159475}"/>
              </a:ext>
            </a:extLst>
          </p:cNvPr>
          <p:cNvCxnSpPr>
            <a:cxnSpLocks/>
          </p:cNvCxnSpPr>
          <p:nvPr/>
        </p:nvCxnSpPr>
        <p:spPr bwMode="auto">
          <a:xfrm>
            <a:off x="5263147" y="3204664"/>
            <a:ext cx="3243807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EDF7CC3-496B-45B2-A3B7-66820F0BD038}"/>
              </a:ext>
            </a:extLst>
          </p:cNvPr>
          <p:cNvGrpSpPr/>
          <p:nvPr/>
        </p:nvGrpSpPr>
        <p:grpSpPr>
          <a:xfrm>
            <a:off x="5510331" y="2916848"/>
            <a:ext cx="71954" cy="287815"/>
            <a:chOff x="2340546" y="2214091"/>
            <a:chExt cx="72008" cy="288032"/>
          </a:xfrm>
        </p:grpSpPr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C6D2807C-95B4-46E7-9CD2-BF85F7CBFAF0}"/>
                </a:ext>
              </a:extLst>
            </p:cNvPr>
            <p:cNvSpPr/>
            <p:nvPr/>
          </p:nvSpPr>
          <p:spPr bwMode="auto">
            <a:xfrm>
              <a:off x="2340546" y="2214091"/>
              <a:ext cx="72008" cy="45719"/>
            </a:xfrm>
            <a:prstGeom prst="ellips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1710" tIns="50854" rIns="101710" bIns="50854" numCol="1" rtlCol="0" anchor="t" anchorCtr="0" compatLnSpc="1">
              <a:prstTxWarp prst="textNoShape">
                <a:avLst/>
              </a:prstTxWarp>
            </a:bodyPr>
            <a:lstStyle/>
            <a:p>
              <a:pPr marL="176073" marR="0" lvl="0" indent="-176073" algn="just" defTabSz="1018368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 typeface="Wingdings" pitchFamily="2" charset="2"/>
                <a:buChar char="n"/>
                <a:tabLst/>
                <a:defRPr/>
              </a:pPr>
              <a:endParaRPr kumimoji="0" lang="zh-CN" altLang="en-US" sz="1799" b="1" i="1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楷体_GB2312" pitchFamily="49" charset="-122"/>
                <a:ea typeface="楷体_GB2312" pitchFamily="49" charset="-122"/>
              </a:endParaRPr>
            </a:p>
          </p:txBody>
        </p: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62BD7F84-3D43-4F04-862A-1D8AD7E3F5FD}"/>
                </a:ext>
              </a:extLst>
            </p:cNvPr>
            <p:cNvCxnSpPr>
              <a:cxnSpLocks/>
              <a:stCxn id="161" idx="4"/>
            </p:cNvCxnSpPr>
            <p:nvPr/>
          </p:nvCxnSpPr>
          <p:spPr bwMode="auto">
            <a:xfrm>
              <a:off x="2376550" y="2259810"/>
              <a:ext cx="0" cy="242313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98CA33BC-3040-420B-BB7A-48B2DDC191BF}"/>
              </a:ext>
            </a:extLst>
          </p:cNvPr>
          <p:cNvSpPr/>
          <p:nvPr/>
        </p:nvSpPr>
        <p:spPr bwMode="auto">
          <a:xfrm>
            <a:off x="6009896" y="3441921"/>
            <a:ext cx="575631" cy="215862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PCF</a:t>
            </a:r>
            <a:endParaRPr kumimoji="0" lang="zh-CN" altLang="en-US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2DF012F-271A-40B8-8081-19F8117F0FFD}"/>
              </a:ext>
            </a:extLst>
          </p:cNvPr>
          <p:cNvSpPr/>
          <p:nvPr/>
        </p:nvSpPr>
        <p:spPr bwMode="auto">
          <a:xfrm>
            <a:off x="7362480" y="2747299"/>
            <a:ext cx="876667" cy="215862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UDM/AUSF</a:t>
            </a:r>
            <a:endParaRPr kumimoji="0" lang="zh-CN" altLang="en-US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EF269FEC-5F45-479C-BE68-024498501EC0}"/>
              </a:ext>
            </a:extLst>
          </p:cNvPr>
          <p:cNvGrpSpPr/>
          <p:nvPr/>
        </p:nvGrpSpPr>
        <p:grpSpPr>
          <a:xfrm>
            <a:off x="7614320" y="2916848"/>
            <a:ext cx="71954" cy="287815"/>
            <a:chOff x="2340546" y="2214091"/>
            <a:chExt cx="72008" cy="288032"/>
          </a:xfrm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8969623B-CE79-48C4-AFCD-852E8E30032D}"/>
                </a:ext>
              </a:extLst>
            </p:cNvPr>
            <p:cNvSpPr/>
            <p:nvPr/>
          </p:nvSpPr>
          <p:spPr bwMode="auto">
            <a:xfrm>
              <a:off x="2340546" y="2214091"/>
              <a:ext cx="72008" cy="45719"/>
            </a:xfrm>
            <a:prstGeom prst="ellips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1710" tIns="50854" rIns="101710" bIns="50854" numCol="1" rtlCol="0" anchor="t" anchorCtr="0" compatLnSpc="1">
              <a:prstTxWarp prst="textNoShape">
                <a:avLst/>
              </a:prstTxWarp>
            </a:bodyPr>
            <a:lstStyle/>
            <a:p>
              <a:pPr marL="176073" marR="0" lvl="0" indent="-176073" algn="just" defTabSz="1018368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 typeface="Wingdings" pitchFamily="2" charset="2"/>
                <a:buChar char="n"/>
                <a:tabLst/>
                <a:defRPr/>
              </a:pPr>
              <a:endParaRPr kumimoji="0" lang="zh-CN" altLang="en-US" sz="1799" b="1" i="1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楷体_GB2312" pitchFamily="49" charset="-122"/>
                <a:ea typeface="楷体_GB2312" pitchFamily="49" charset="-122"/>
              </a:endParaRPr>
            </a:p>
          </p:txBody>
        </p: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967500B8-ED4F-4FA1-8EF8-3CA7C4FC5465}"/>
                </a:ext>
              </a:extLst>
            </p:cNvPr>
            <p:cNvCxnSpPr>
              <a:cxnSpLocks/>
              <a:stCxn id="159" idx="4"/>
            </p:cNvCxnSpPr>
            <p:nvPr/>
          </p:nvCxnSpPr>
          <p:spPr bwMode="auto">
            <a:xfrm>
              <a:off x="2376550" y="2259810"/>
              <a:ext cx="0" cy="242313"/>
            </a:xfrm>
            <a:prstGeom prst="line">
              <a:avLst/>
            </a:prstGeom>
            <a:noFill/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061581B6-2BAB-4D83-8367-1C646403C68E}"/>
              </a:ext>
            </a:extLst>
          </p:cNvPr>
          <p:cNvCxnSpPr>
            <a:cxnSpLocks/>
          </p:cNvCxnSpPr>
          <p:nvPr/>
        </p:nvCxnSpPr>
        <p:spPr bwMode="auto">
          <a:xfrm>
            <a:off x="6308333" y="3200818"/>
            <a:ext cx="0" cy="242131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3F22B684-C61F-44B7-BA93-46E91937392D}"/>
              </a:ext>
            </a:extLst>
          </p:cNvPr>
          <p:cNvSpPr/>
          <p:nvPr/>
        </p:nvSpPr>
        <p:spPr bwMode="auto">
          <a:xfrm>
            <a:off x="5474134" y="3014965"/>
            <a:ext cx="503677" cy="1569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nssf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08C99F08-5B2E-436F-B55B-516F1417C0E9}"/>
              </a:ext>
            </a:extLst>
          </p:cNvPr>
          <p:cNvSpPr/>
          <p:nvPr/>
        </p:nvSpPr>
        <p:spPr bwMode="auto">
          <a:xfrm>
            <a:off x="7583817" y="2995680"/>
            <a:ext cx="880286" cy="1569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udm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/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ausf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C6E24621-2ADF-41D0-BAD1-6AC9EED50AD6}"/>
              </a:ext>
            </a:extLst>
          </p:cNvPr>
          <p:cNvGrpSpPr/>
          <p:nvPr/>
        </p:nvGrpSpPr>
        <p:grpSpPr>
          <a:xfrm>
            <a:off x="5953404" y="2747299"/>
            <a:ext cx="736401" cy="457365"/>
            <a:chOff x="3464630" y="1782043"/>
            <a:chExt cx="736955" cy="457709"/>
          </a:xfrm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5C54A99E-C5E1-44D4-BBB0-E9213EB0901F}"/>
                </a:ext>
              </a:extLst>
            </p:cNvPr>
            <p:cNvSpPr/>
            <p:nvPr/>
          </p:nvSpPr>
          <p:spPr bwMode="auto">
            <a:xfrm>
              <a:off x="3464630" y="1782043"/>
              <a:ext cx="576064" cy="216024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1710" tIns="50854" rIns="101710" bIns="5085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368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99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楷体_GB2312" pitchFamily="49" charset="-122"/>
                </a:rPr>
                <a:t>NRF</a:t>
              </a:r>
              <a:endParaRPr kumimoji="0" lang="zh-CN" altLang="en-US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endParaRPr>
            </a:p>
          </p:txBody>
        </p: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B57DF19D-6CCB-4F55-80F5-B9B51FB28DFA}"/>
                </a:ext>
              </a:extLst>
            </p:cNvPr>
            <p:cNvGrpSpPr/>
            <p:nvPr/>
          </p:nvGrpSpPr>
          <p:grpSpPr>
            <a:xfrm>
              <a:off x="3716658" y="1951720"/>
              <a:ext cx="72008" cy="288032"/>
              <a:chOff x="2340546" y="2214091"/>
              <a:chExt cx="72008" cy="288032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1BE380CC-2EFF-4722-9236-46E8BAC88379}"/>
                  </a:ext>
                </a:extLst>
              </p:cNvPr>
              <p:cNvSpPr/>
              <p:nvPr/>
            </p:nvSpPr>
            <p:spPr bwMode="auto">
              <a:xfrm>
                <a:off x="2340546" y="2214091"/>
                <a:ext cx="72008" cy="45719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1710" tIns="50854" rIns="101710" bIns="50854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76073" marR="0" lvl="0" indent="-176073" algn="just" defTabSz="1018368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799" b="1" i="1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楷体_GB2312" pitchFamily="49" charset="-122"/>
                  <a:ea typeface="楷体_GB2312" pitchFamily="49" charset="-122"/>
                </a:endParaRPr>
              </a:p>
            </p:txBody>
          </p: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9766777B-C5A9-49FB-A795-646776200B02}"/>
                  </a:ext>
                </a:extLst>
              </p:cNvPr>
              <p:cNvCxnSpPr>
                <a:cxnSpLocks/>
                <a:stCxn id="157" idx="4"/>
              </p:cNvCxnSpPr>
              <p:nvPr/>
            </p:nvCxnSpPr>
            <p:spPr bwMode="auto">
              <a:xfrm>
                <a:off x="2376550" y="2259810"/>
                <a:ext cx="0" cy="242313"/>
              </a:xfrm>
              <a:prstGeom prst="lin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8E16023F-DE9E-4689-9201-1149FD88EC22}"/>
                </a:ext>
              </a:extLst>
            </p:cNvPr>
            <p:cNvSpPr/>
            <p:nvPr/>
          </p:nvSpPr>
          <p:spPr bwMode="auto">
            <a:xfrm>
              <a:off x="3697529" y="2040168"/>
              <a:ext cx="504056" cy="15711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1710" tIns="50854" rIns="101710" bIns="5085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1018368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楷体_GB2312" pitchFamily="49" charset="-122"/>
                </a:rPr>
                <a:t>Nnrf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A6585D0-7AB3-4B92-8881-2D98FA888310}"/>
              </a:ext>
            </a:extLst>
          </p:cNvPr>
          <p:cNvSpPr/>
          <p:nvPr/>
        </p:nvSpPr>
        <p:spPr bwMode="auto">
          <a:xfrm>
            <a:off x="6236803" y="3245742"/>
            <a:ext cx="503677" cy="1569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pcf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B0A183C-E6B8-4411-A2F1-2A88B0C9F35C}"/>
              </a:ext>
            </a:extLst>
          </p:cNvPr>
          <p:cNvGrpSpPr/>
          <p:nvPr/>
        </p:nvGrpSpPr>
        <p:grpSpPr>
          <a:xfrm>
            <a:off x="7632013" y="3273690"/>
            <a:ext cx="730513" cy="391081"/>
            <a:chOff x="2293117" y="1793456"/>
            <a:chExt cx="731063" cy="391375"/>
          </a:xfrm>
        </p:grpSpPr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A966B5D0-10DE-4D3C-B5C9-3451322CC82F}"/>
                </a:ext>
              </a:extLst>
            </p:cNvPr>
            <p:cNvSpPr/>
            <p:nvPr/>
          </p:nvSpPr>
          <p:spPr bwMode="auto">
            <a:xfrm>
              <a:off x="2293117" y="1968807"/>
              <a:ext cx="576064" cy="216024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1710" tIns="50854" rIns="101710" bIns="5085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368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99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楷体_GB2312" pitchFamily="49" charset="-122"/>
                </a:rPr>
                <a:t>SMF</a:t>
              </a:r>
              <a:endParaRPr kumimoji="0" lang="zh-CN" altLang="en-US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endParaRP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C6D5E5B3-4349-462B-9761-46859A0580B0}"/>
                </a:ext>
              </a:extLst>
            </p:cNvPr>
            <p:cNvGrpSpPr/>
            <p:nvPr/>
          </p:nvGrpSpPr>
          <p:grpSpPr>
            <a:xfrm>
              <a:off x="2520124" y="1723131"/>
              <a:ext cx="504056" cy="288032"/>
              <a:chOff x="2520124" y="1723131"/>
              <a:chExt cx="504056" cy="288032"/>
            </a:xfrm>
          </p:grpSpPr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D5079636-8426-44B3-985F-5441014720F6}"/>
                  </a:ext>
                </a:extLst>
              </p:cNvPr>
              <p:cNvSpPr/>
              <p:nvPr/>
            </p:nvSpPr>
            <p:spPr bwMode="auto">
              <a:xfrm rot="10800000">
                <a:off x="2535459" y="1965444"/>
                <a:ext cx="72008" cy="45719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1710" tIns="50854" rIns="101710" bIns="50854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76073" marR="0" lvl="0" indent="-176073" algn="just" defTabSz="1018368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799" b="1" i="1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楷体_GB2312" pitchFamily="49" charset="-122"/>
                  <a:ea typeface="楷体_GB2312" pitchFamily="49" charset="-122"/>
                </a:endParaRPr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B18A6179-D535-4C6A-BAE3-FA2064B9E969}"/>
                  </a:ext>
                </a:extLst>
              </p:cNvPr>
              <p:cNvSpPr/>
              <p:nvPr/>
            </p:nvSpPr>
            <p:spPr bwMode="auto">
              <a:xfrm>
                <a:off x="2520124" y="1793452"/>
                <a:ext cx="504056" cy="15711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1710" tIns="50854" rIns="101710" bIns="50854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just" defTabSz="1018368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Arial" charset="0"/>
                    <a:ea typeface="楷体_GB2312" pitchFamily="49" charset="-122"/>
                  </a:rPr>
                  <a:t>Nsmf</a:t>
                </a:r>
                <a:endPara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楷体_GB2312" pitchFamily="49" charset="-122"/>
                </a:endParaRPr>
              </a:p>
            </p:txBody>
          </p:sp>
        </p:grp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89EC71CF-5656-428B-A234-78D21EBAA2E9}"/>
              </a:ext>
            </a:extLst>
          </p:cNvPr>
          <p:cNvGrpSpPr/>
          <p:nvPr/>
        </p:nvGrpSpPr>
        <p:grpSpPr>
          <a:xfrm>
            <a:off x="6779542" y="3197721"/>
            <a:ext cx="718361" cy="468643"/>
            <a:chOff x="1116410" y="1715835"/>
            <a:chExt cx="718901" cy="468996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AC0BB5B5-50D4-42D8-84BB-70A78A78D9B4}"/>
                </a:ext>
              </a:extLst>
            </p:cNvPr>
            <p:cNvSpPr/>
            <p:nvPr/>
          </p:nvSpPr>
          <p:spPr bwMode="auto">
            <a:xfrm>
              <a:off x="1116410" y="1968807"/>
              <a:ext cx="576064" cy="216024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1710" tIns="50854" rIns="101710" bIns="5085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368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zh-CN" sz="999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楷体_GB2312" pitchFamily="49" charset="-122"/>
                </a:rPr>
                <a:t>AMF</a:t>
              </a:r>
              <a:endParaRPr kumimoji="0" lang="zh-CN" altLang="en-US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endParaRPr>
            </a:p>
          </p:txBody>
        </p: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90FB9BC7-F844-443C-AF5F-E116FD59603F}"/>
                </a:ext>
              </a:extLst>
            </p:cNvPr>
            <p:cNvGrpSpPr/>
            <p:nvPr/>
          </p:nvGrpSpPr>
          <p:grpSpPr>
            <a:xfrm>
              <a:off x="1331255" y="1715835"/>
              <a:ext cx="504056" cy="288032"/>
              <a:chOff x="1331255" y="1715835"/>
              <a:chExt cx="504056" cy="288032"/>
            </a:xfrm>
          </p:grpSpPr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1299C88C-7CF9-4CDB-8820-704A58D38798}"/>
                  </a:ext>
                </a:extLst>
              </p:cNvPr>
              <p:cNvGrpSpPr/>
              <p:nvPr/>
            </p:nvGrpSpPr>
            <p:grpSpPr>
              <a:xfrm rot="10800000">
                <a:off x="1368438" y="1715835"/>
                <a:ext cx="72008" cy="288032"/>
                <a:chOff x="2340546" y="2214091"/>
                <a:chExt cx="72008" cy="288032"/>
              </a:xfrm>
            </p:grpSpPr>
            <p:sp>
              <p:nvSpPr>
                <p:cNvPr id="148" name="Oval 147">
                  <a:extLst>
                    <a:ext uri="{FF2B5EF4-FFF2-40B4-BE49-F238E27FC236}">
                      <a16:creationId xmlns:a16="http://schemas.microsoft.com/office/drawing/2014/main" id="{23BD83FF-8FDE-4ADF-8AC5-82BA4B35CFB1}"/>
                    </a:ext>
                  </a:extLst>
                </p:cNvPr>
                <p:cNvSpPr/>
                <p:nvPr/>
              </p:nvSpPr>
              <p:spPr bwMode="auto">
                <a:xfrm>
                  <a:off x="2340546" y="2214091"/>
                  <a:ext cx="72008" cy="45719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01710" tIns="50854" rIns="101710" bIns="50854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176073" marR="0" lvl="0" indent="-176073" algn="just" defTabSz="1018368" rtl="0" eaLnBrk="1" fontAlgn="base" latinLnBrk="0" hangingPunct="1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Tx/>
                    <a:buSzPct val="80000"/>
                    <a:buFont typeface="Wingdings" pitchFamily="2" charset="2"/>
                    <a:buChar char="n"/>
                    <a:tabLst/>
                    <a:defRPr/>
                  </a:pPr>
                  <a:endParaRPr kumimoji="0" lang="zh-CN" altLang="en-US" sz="1799" b="1" i="1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楷体_GB2312" pitchFamily="49" charset="-122"/>
                    <a:ea typeface="楷体_GB2312" pitchFamily="49" charset="-122"/>
                  </a:endParaRPr>
                </a:p>
              </p:txBody>
            </p: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041CAC88-1B57-446F-8334-45B5FFEBA5E0}"/>
                    </a:ext>
                  </a:extLst>
                </p:cNvPr>
                <p:cNvCxnSpPr>
                  <a:cxnSpLocks/>
                  <a:stCxn id="148" idx="4"/>
                </p:cNvCxnSpPr>
                <p:nvPr/>
              </p:nvCxnSpPr>
              <p:spPr bwMode="auto">
                <a:xfrm>
                  <a:off x="2376550" y="2259810"/>
                  <a:ext cx="0" cy="242313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08BF4FEE-72A5-4057-9FAE-568068E3B31C}"/>
                  </a:ext>
                </a:extLst>
              </p:cNvPr>
              <p:cNvSpPr/>
              <p:nvPr/>
            </p:nvSpPr>
            <p:spPr bwMode="auto">
              <a:xfrm>
                <a:off x="1331255" y="1796976"/>
                <a:ext cx="504056" cy="15711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1710" tIns="50854" rIns="101710" bIns="50854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just" defTabSz="1018368" rtl="0" eaLnBrk="1" fontAlgn="base" latinLnBrk="0" hangingPunct="1">
                  <a:lnSpc>
                    <a:spcPct val="110000"/>
                  </a:lnSpc>
                  <a:spcBef>
                    <a:spcPct val="40000"/>
                  </a:spcBef>
                  <a:spcAft>
                    <a:spcPct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0" lang="en-US" altLang="zh-CN" sz="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Arial" charset="0"/>
                    <a:ea typeface="楷体_GB2312" pitchFamily="49" charset="-122"/>
                  </a:rPr>
                  <a:t>Namf</a:t>
                </a:r>
                <a:endPara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楷体_GB2312" pitchFamily="49" charset="-122"/>
                </a:endParaRPr>
              </a:p>
            </p:txBody>
          </p:sp>
        </p:grpSp>
      </p:grp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1C4FED26-CED9-481B-9F96-4B996C9E429A}"/>
              </a:ext>
            </a:extLst>
          </p:cNvPr>
          <p:cNvCxnSpPr>
            <a:cxnSpLocks/>
          </p:cNvCxnSpPr>
          <p:nvPr/>
        </p:nvCxnSpPr>
        <p:spPr bwMode="auto">
          <a:xfrm flipV="1">
            <a:off x="5834124" y="3672490"/>
            <a:ext cx="1218094" cy="57817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61B46602-D4CF-4EBF-B53A-8E8118A769A3}"/>
              </a:ext>
            </a:extLst>
          </p:cNvPr>
          <p:cNvCxnSpPr>
            <a:cxnSpLocks/>
            <a:stCxn id="119" idx="0"/>
            <a:endCxn id="144" idx="2"/>
          </p:cNvCxnSpPr>
          <p:nvPr/>
        </p:nvCxnSpPr>
        <p:spPr bwMode="auto">
          <a:xfrm flipV="1">
            <a:off x="6704880" y="3666364"/>
            <a:ext cx="362478" cy="499206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5A82E2C5-1363-46D5-9F50-FE0359E60A87}"/>
              </a:ext>
            </a:extLst>
          </p:cNvPr>
          <p:cNvCxnSpPr>
            <a:cxnSpLocks/>
            <a:stCxn id="118" idx="3"/>
            <a:endCxn id="119" idx="1"/>
          </p:cNvCxnSpPr>
          <p:nvPr/>
        </p:nvCxnSpPr>
        <p:spPr bwMode="auto">
          <a:xfrm>
            <a:off x="5834124" y="4273501"/>
            <a:ext cx="582940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B8CB1D5C-A00F-4B7B-8C19-2E6C1DBA5BB4}"/>
              </a:ext>
            </a:extLst>
          </p:cNvPr>
          <p:cNvCxnSpPr>
            <a:cxnSpLocks/>
            <a:stCxn id="119" idx="3"/>
            <a:endCxn id="120" idx="1"/>
          </p:cNvCxnSpPr>
          <p:nvPr/>
        </p:nvCxnSpPr>
        <p:spPr bwMode="auto">
          <a:xfrm>
            <a:off x="6992695" y="4273501"/>
            <a:ext cx="642983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1544177C-38F2-4A18-A17F-774C75538872}"/>
              </a:ext>
            </a:extLst>
          </p:cNvPr>
          <p:cNvCxnSpPr>
            <a:cxnSpLocks/>
            <a:stCxn id="120" idx="0"/>
            <a:endCxn id="150" idx="2"/>
          </p:cNvCxnSpPr>
          <p:nvPr/>
        </p:nvCxnSpPr>
        <p:spPr bwMode="auto">
          <a:xfrm flipH="1" flipV="1">
            <a:off x="7919829" y="3664771"/>
            <a:ext cx="3665" cy="500799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948FC56-C2BF-4A59-A845-373649333FDD}"/>
              </a:ext>
            </a:extLst>
          </p:cNvPr>
          <p:cNvSpPr/>
          <p:nvPr/>
        </p:nvSpPr>
        <p:spPr bwMode="auto">
          <a:xfrm>
            <a:off x="6275864" y="3780975"/>
            <a:ext cx="503677" cy="1569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1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D9C0A705-C039-45B3-BC59-CAE52A484AF0}"/>
              </a:ext>
            </a:extLst>
          </p:cNvPr>
          <p:cNvSpPr/>
          <p:nvPr/>
        </p:nvSpPr>
        <p:spPr bwMode="auto">
          <a:xfrm>
            <a:off x="7020405" y="3818005"/>
            <a:ext cx="503677" cy="1569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2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5AF6F38-1B8B-4FA8-9B07-D350D95D9B37}"/>
              </a:ext>
            </a:extLst>
          </p:cNvPr>
          <p:cNvSpPr/>
          <p:nvPr/>
        </p:nvSpPr>
        <p:spPr bwMode="auto">
          <a:xfrm>
            <a:off x="7283219" y="4143865"/>
            <a:ext cx="503677" cy="1569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3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EF983234-B7B7-4743-8CCB-D326B7717828}"/>
              </a:ext>
            </a:extLst>
          </p:cNvPr>
          <p:cNvSpPr/>
          <p:nvPr/>
        </p:nvSpPr>
        <p:spPr bwMode="auto">
          <a:xfrm>
            <a:off x="7907303" y="3772702"/>
            <a:ext cx="503677" cy="1569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N4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1170F69C-5605-4E17-A74E-700E833DE0E5}"/>
              </a:ext>
            </a:extLst>
          </p:cNvPr>
          <p:cNvCxnSpPr>
            <a:cxnSpLocks/>
          </p:cNvCxnSpPr>
          <p:nvPr/>
        </p:nvCxnSpPr>
        <p:spPr bwMode="auto">
          <a:xfrm flipV="1">
            <a:off x="5218403" y="4040585"/>
            <a:ext cx="3288551" cy="16491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654B9C6-F0ED-4958-B4A2-5E96A3F8153E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7913105" y="3206779"/>
            <a:ext cx="0" cy="24213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1334E92-90F2-40B3-9995-A2E589EE93E6}"/>
              </a:ext>
            </a:extLst>
          </p:cNvPr>
          <p:cNvSpPr/>
          <p:nvPr/>
        </p:nvSpPr>
        <p:spPr>
          <a:xfrm>
            <a:off x="5254735" y="3722413"/>
            <a:ext cx="900697" cy="215444"/>
          </a:xfrm>
          <a:prstGeom prst="rect">
            <a:avLst/>
          </a:prstGeom>
          <a:solidFill>
            <a:schemeClr val="tx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456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HTTP PROXY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0B6FD53C-1474-46D7-B860-8FE7062754EC}"/>
              </a:ext>
            </a:extLst>
          </p:cNvPr>
          <p:cNvSpPr/>
          <p:nvPr/>
        </p:nvSpPr>
        <p:spPr bwMode="auto">
          <a:xfrm>
            <a:off x="7363965" y="2468557"/>
            <a:ext cx="876667" cy="215862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710" tIns="50854" rIns="101710" bIns="5085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368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altLang="zh-CN" sz="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楷体_GB2312" pitchFamily="49" charset="-122"/>
              </a:rPr>
              <a:t>UDR</a:t>
            </a:r>
            <a:endParaRPr kumimoji="0" lang="zh-CN" altLang="en-US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楷体_GB2312" pitchFamily="49" charset="-122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5FD698E-1766-4A93-85D1-B2F2C92F53F5}"/>
              </a:ext>
            </a:extLst>
          </p:cNvPr>
          <p:cNvCxnSpPr>
            <a:stCxn id="166" idx="2"/>
            <a:endCxn id="125" idx="0"/>
          </p:cNvCxnSpPr>
          <p:nvPr/>
        </p:nvCxnSpPr>
        <p:spPr>
          <a:xfrm flipH="1">
            <a:off x="7800814" y="2684419"/>
            <a:ext cx="1485" cy="6288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rrow: Right 5">
            <a:extLst>
              <a:ext uri="{FF2B5EF4-FFF2-40B4-BE49-F238E27FC236}">
                <a16:creationId xmlns:a16="http://schemas.microsoft.com/office/drawing/2014/main" id="{631C2D6C-276F-4CA8-BF0E-7ED876099745}"/>
              </a:ext>
            </a:extLst>
          </p:cNvPr>
          <p:cNvSpPr/>
          <p:nvPr/>
        </p:nvSpPr>
        <p:spPr>
          <a:xfrm>
            <a:off x="4680764" y="3257195"/>
            <a:ext cx="356246" cy="365311"/>
          </a:xfrm>
          <a:prstGeom prst="rightArrow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90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EA33121-D9D7-4B76-A1CE-84BA033A11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4503542"/>
              </p:ext>
            </p:extLst>
          </p:nvPr>
        </p:nvGraphicFramePr>
        <p:xfrm>
          <a:off x="109979" y="77837"/>
          <a:ext cx="6096000" cy="46714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Left Brace 1">
            <a:extLst>
              <a:ext uri="{FF2B5EF4-FFF2-40B4-BE49-F238E27FC236}">
                <a16:creationId xmlns:a16="http://schemas.microsoft.com/office/drawing/2014/main" id="{DD8C448F-3D2F-4A9C-9678-667BEEA17033}"/>
              </a:ext>
            </a:extLst>
          </p:cNvPr>
          <p:cNvSpPr/>
          <p:nvPr/>
        </p:nvSpPr>
        <p:spPr>
          <a:xfrm>
            <a:off x="6623901" y="1093509"/>
            <a:ext cx="169683" cy="355390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5B1A006-B139-4AC2-B102-027F3516BD8C}"/>
              </a:ext>
            </a:extLst>
          </p:cNvPr>
          <p:cNvCxnSpPr>
            <a:endCxn id="2" idx="1"/>
          </p:cNvCxnSpPr>
          <p:nvPr/>
        </p:nvCxnSpPr>
        <p:spPr>
          <a:xfrm>
            <a:off x="6278252" y="2865748"/>
            <a:ext cx="345649" cy="471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C2DCF32-DC50-49A0-9B64-2270E080C7CD}"/>
              </a:ext>
            </a:extLst>
          </p:cNvPr>
          <p:cNvSpPr txBox="1"/>
          <p:nvPr/>
        </p:nvSpPr>
        <p:spPr>
          <a:xfrm>
            <a:off x="7199699" y="18988"/>
            <a:ext cx="1319752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defTabSz="360000">
              <a:spcAft>
                <a:spcPts val="600"/>
              </a:spcAft>
              <a:tabLst>
                <a:tab pos="360000" algn="l"/>
              </a:tabLst>
            </a:pPr>
            <a:r>
              <a:rPr lang="zh-CN" altLang="en-US" sz="1200" dirty="0">
                <a:solidFill>
                  <a:schemeClr val="tx2"/>
                </a:solidFill>
                <a:latin typeface="Nokia Pure Headline Light" panose="020B0304020202020204" pitchFamily="34" charset="0"/>
              </a:rPr>
              <a:t>按场景需求解码</a:t>
            </a:r>
            <a:endParaRPr lang="en-US" sz="1200" dirty="0">
              <a:solidFill>
                <a:schemeClr val="tx2"/>
              </a:solidFill>
              <a:latin typeface="Nokia Pure Headline Light" panose="020B03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D23BB27-4580-468D-B18D-024A4B6679AC}"/>
              </a:ext>
            </a:extLst>
          </p:cNvPr>
          <p:cNvGrpSpPr/>
          <p:nvPr/>
        </p:nvGrpSpPr>
        <p:grpSpPr>
          <a:xfrm>
            <a:off x="7121633" y="1086792"/>
            <a:ext cx="1511084" cy="600908"/>
            <a:chOff x="4584809" y="2432605"/>
            <a:chExt cx="1511084" cy="600908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2C849F-B996-4E84-AB8D-7ECEE7D3F725}"/>
                </a:ext>
              </a:extLst>
            </p:cNvPr>
            <p:cNvSpPr/>
            <p:nvPr/>
          </p:nvSpPr>
          <p:spPr>
            <a:xfrm>
              <a:off x="4584809" y="2432605"/>
              <a:ext cx="1511084" cy="600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ctangle: Rounded Corners 4">
              <a:extLst>
                <a:ext uri="{FF2B5EF4-FFF2-40B4-BE49-F238E27FC236}">
                  <a16:creationId xmlns:a16="http://schemas.microsoft.com/office/drawing/2014/main" id="{EE55724A-9E59-4FE7-A634-872ABE5A91FB}"/>
                </a:ext>
              </a:extLst>
            </p:cNvPr>
            <p:cNvSpPr txBox="1"/>
            <p:nvPr/>
          </p:nvSpPr>
          <p:spPr>
            <a:xfrm>
              <a:off x="4602409" y="2450205"/>
              <a:ext cx="1475884" cy="5657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15240" rIns="2286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/>
                <a:t>针对漫游  </a:t>
              </a:r>
              <a:r>
                <a:rPr lang="en-US" altLang="zh-CN" sz="1200" kern="1200" dirty="0"/>
                <a:t>+N16</a:t>
              </a:r>
              <a:endParaRPr lang="en-US" sz="1200" kern="1200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84F63F0-093C-4E9C-808D-036B4884F912}"/>
              </a:ext>
            </a:extLst>
          </p:cNvPr>
          <p:cNvGrpSpPr/>
          <p:nvPr/>
        </p:nvGrpSpPr>
        <p:grpSpPr>
          <a:xfrm>
            <a:off x="7121633" y="1700055"/>
            <a:ext cx="1511084" cy="600908"/>
            <a:chOff x="4584809" y="2432605"/>
            <a:chExt cx="1511084" cy="600908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A03FE518-E0E2-4567-A866-36AE47C8ABBE}"/>
                </a:ext>
              </a:extLst>
            </p:cNvPr>
            <p:cNvSpPr/>
            <p:nvPr/>
          </p:nvSpPr>
          <p:spPr>
            <a:xfrm>
              <a:off x="4584809" y="2432605"/>
              <a:ext cx="1511084" cy="600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3F1C90CB-0104-40D2-9684-431A210B46EF}"/>
                </a:ext>
              </a:extLst>
            </p:cNvPr>
            <p:cNvSpPr txBox="1"/>
            <p:nvPr/>
          </p:nvSpPr>
          <p:spPr>
            <a:xfrm>
              <a:off x="4602409" y="2450205"/>
              <a:ext cx="1475884" cy="5657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15240" rIns="2286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/>
                <a:t>针对</a:t>
              </a:r>
              <a:r>
                <a:rPr lang="en-US" altLang="zh-CN" sz="1200" kern="1200" dirty="0"/>
                <a:t>4/5G</a:t>
              </a:r>
              <a:r>
                <a:rPr lang="zh-CN" altLang="en-US" sz="1200" kern="1200" dirty="0"/>
                <a:t>互操作  </a:t>
              </a:r>
              <a:r>
                <a:rPr lang="en-US" altLang="zh-CN" sz="1200" kern="1200" dirty="0"/>
                <a:t>+N26</a:t>
              </a:r>
              <a:endParaRPr lang="en-US" sz="1200" kern="1200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E2076FA-63C8-470F-8E1F-39AD42500838}"/>
              </a:ext>
            </a:extLst>
          </p:cNvPr>
          <p:cNvGrpSpPr/>
          <p:nvPr/>
        </p:nvGrpSpPr>
        <p:grpSpPr>
          <a:xfrm>
            <a:off x="7121633" y="473529"/>
            <a:ext cx="1511084" cy="600908"/>
            <a:chOff x="4584809" y="2432605"/>
            <a:chExt cx="1511084" cy="600908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961BBD5C-DFCA-4503-BE37-9BC6E40DC699}"/>
                </a:ext>
              </a:extLst>
            </p:cNvPr>
            <p:cNvSpPr/>
            <p:nvPr/>
          </p:nvSpPr>
          <p:spPr>
            <a:xfrm>
              <a:off x="4584809" y="2432605"/>
              <a:ext cx="1511084" cy="600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5DBEF23A-E461-4A1F-93CA-7968F39D0241}"/>
                </a:ext>
              </a:extLst>
            </p:cNvPr>
            <p:cNvSpPr txBox="1"/>
            <p:nvPr/>
          </p:nvSpPr>
          <p:spPr>
            <a:xfrm>
              <a:off x="4602409" y="2450205"/>
              <a:ext cx="1475884" cy="5657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15240" rIns="2286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/>
                <a:t>基本流程补充接口：</a:t>
              </a:r>
              <a:r>
                <a:rPr lang="en-US" altLang="zh-CN" sz="1200" kern="1200" dirty="0"/>
                <a:t>+N6</a:t>
              </a:r>
              <a:r>
                <a:rPr lang="en-US" altLang="zh-CN" sz="1200" dirty="0"/>
                <a:t>,N12,N13</a:t>
              </a:r>
              <a:endParaRPr lang="en-US" sz="1200" kern="1200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3CE3EBB-3A96-4B1C-A36D-94DA6378F10A}"/>
              </a:ext>
            </a:extLst>
          </p:cNvPr>
          <p:cNvGrpSpPr/>
          <p:nvPr/>
        </p:nvGrpSpPr>
        <p:grpSpPr>
          <a:xfrm>
            <a:off x="7139233" y="2313318"/>
            <a:ext cx="1511084" cy="600908"/>
            <a:chOff x="4584809" y="2432605"/>
            <a:chExt cx="1511084" cy="600908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2889214-E9F4-48ED-A2F3-6F2B2AE3AA03}"/>
                </a:ext>
              </a:extLst>
            </p:cNvPr>
            <p:cNvSpPr/>
            <p:nvPr/>
          </p:nvSpPr>
          <p:spPr>
            <a:xfrm>
              <a:off x="4584809" y="2432605"/>
              <a:ext cx="1511084" cy="600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tangle: Rounded Corners 4">
              <a:extLst>
                <a:ext uri="{FF2B5EF4-FFF2-40B4-BE49-F238E27FC236}">
                  <a16:creationId xmlns:a16="http://schemas.microsoft.com/office/drawing/2014/main" id="{BDD2ED4F-D093-46D7-B4A5-DE6C7D2E64E4}"/>
                </a:ext>
              </a:extLst>
            </p:cNvPr>
            <p:cNvSpPr txBox="1"/>
            <p:nvPr/>
          </p:nvSpPr>
          <p:spPr>
            <a:xfrm>
              <a:off x="4602409" y="2450205"/>
              <a:ext cx="1475884" cy="5657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15240" rIns="2286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语音 </a:t>
              </a:r>
              <a:r>
                <a:rPr lang="en-US" altLang="zh-CN" sz="1200" dirty="0" err="1"/>
                <a:t>VoNR</a:t>
              </a:r>
              <a:r>
                <a:rPr lang="en-US" altLang="zh-CN" sz="1200" dirty="0"/>
                <a:t>: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dirty="0"/>
                <a:t>+R</a:t>
              </a:r>
              <a:r>
                <a:rPr lang="en-US" altLang="zh-CN" sz="1200" dirty="0"/>
                <a:t>x,</a:t>
              </a:r>
              <a:r>
                <a:rPr lang="zh-CN" altLang="en-US" sz="1200" dirty="0"/>
                <a:t>现有接口</a:t>
              </a:r>
              <a:r>
                <a:rPr lang="en-US" altLang="zh-CN" sz="1200" dirty="0"/>
                <a:t>SIP</a:t>
              </a:r>
              <a:r>
                <a:rPr lang="zh-CN" altLang="en-US" sz="1200" dirty="0"/>
                <a:t>解码</a:t>
              </a:r>
              <a:endParaRPr lang="en-US" sz="1200" kern="1200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7E677E7-91AA-4769-B54D-3BE9E15E2B94}"/>
              </a:ext>
            </a:extLst>
          </p:cNvPr>
          <p:cNvGrpSpPr/>
          <p:nvPr/>
        </p:nvGrpSpPr>
        <p:grpSpPr>
          <a:xfrm>
            <a:off x="7121633" y="2926581"/>
            <a:ext cx="1511084" cy="600908"/>
            <a:chOff x="4584809" y="2432605"/>
            <a:chExt cx="1511084" cy="600908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30C2352-251D-4BB5-853F-6FC75074FEED}"/>
                </a:ext>
              </a:extLst>
            </p:cNvPr>
            <p:cNvSpPr/>
            <p:nvPr/>
          </p:nvSpPr>
          <p:spPr>
            <a:xfrm>
              <a:off x="4584809" y="2432605"/>
              <a:ext cx="1511084" cy="600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tangle: Rounded Corners 4">
              <a:extLst>
                <a:ext uri="{FF2B5EF4-FFF2-40B4-BE49-F238E27FC236}">
                  <a16:creationId xmlns:a16="http://schemas.microsoft.com/office/drawing/2014/main" id="{AD42659F-FDA2-4EF1-8077-FF02CF630C94}"/>
                </a:ext>
              </a:extLst>
            </p:cNvPr>
            <p:cNvSpPr txBox="1"/>
            <p:nvPr/>
          </p:nvSpPr>
          <p:spPr>
            <a:xfrm>
              <a:off x="4602409" y="2450205"/>
              <a:ext cx="1475884" cy="5657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15240" rIns="2286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策略</a:t>
              </a:r>
              <a:r>
                <a:rPr lang="en-US" altLang="zh-CN" sz="1200" dirty="0"/>
                <a:t>: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CN" sz="1200" dirty="0"/>
                <a:t>+N5,N7,N15</a:t>
              </a:r>
              <a:endParaRPr lang="en-US" sz="1200" kern="1200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0A86B41-D84B-4F64-8ADB-010F74F78897}"/>
              </a:ext>
            </a:extLst>
          </p:cNvPr>
          <p:cNvGrpSpPr/>
          <p:nvPr/>
        </p:nvGrpSpPr>
        <p:grpSpPr>
          <a:xfrm>
            <a:off x="7139233" y="3539844"/>
            <a:ext cx="1511084" cy="600908"/>
            <a:chOff x="4584809" y="2432605"/>
            <a:chExt cx="1511084" cy="600908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DFC353E-0E75-4149-91A5-4BACC78DF082}"/>
                </a:ext>
              </a:extLst>
            </p:cNvPr>
            <p:cNvSpPr/>
            <p:nvPr/>
          </p:nvSpPr>
          <p:spPr>
            <a:xfrm>
              <a:off x="4584809" y="2432605"/>
              <a:ext cx="1511084" cy="600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F08853FB-C8F5-4776-9362-26B1DCA54A3E}"/>
                </a:ext>
              </a:extLst>
            </p:cNvPr>
            <p:cNvSpPr txBox="1"/>
            <p:nvPr/>
          </p:nvSpPr>
          <p:spPr>
            <a:xfrm>
              <a:off x="4602409" y="2450205"/>
              <a:ext cx="1475884" cy="5657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15240" rIns="2286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端消息</a:t>
              </a:r>
              <a:r>
                <a:rPr lang="en-US" altLang="zh-CN" sz="1200" dirty="0"/>
                <a:t>: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CN" sz="1200" dirty="0"/>
                <a:t>+N20</a:t>
              </a:r>
              <a:endParaRPr lang="en-US" sz="1200" kern="1200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D36B1CC-8560-4E63-94B7-5B19A9E38223}"/>
              </a:ext>
            </a:extLst>
          </p:cNvPr>
          <p:cNvGrpSpPr/>
          <p:nvPr/>
        </p:nvGrpSpPr>
        <p:grpSpPr>
          <a:xfrm>
            <a:off x="7121633" y="4153104"/>
            <a:ext cx="1511084" cy="600908"/>
            <a:chOff x="4584809" y="2432605"/>
            <a:chExt cx="1511084" cy="600908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4CB5D97D-F94D-4271-BE17-E1E47DC46183}"/>
                </a:ext>
              </a:extLst>
            </p:cNvPr>
            <p:cNvSpPr/>
            <p:nvPr/>
          </p:nvSpPr>
          <p:spPr>
            <a:xfrm>
              <a:off x="4584809" y="2432605"/>
              <a:ext cx="1511084" cy="600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ectangle: Rounded Corners 4">
              <a:extLst>
                <a:ext uri="{FF2B5EF4-FFF2-40B4-BE49-F238E27FC236}">
                  <a16:creationId xmlns:a16="http://schemas.microsoft.com/office/drawing/2014/main" id="{6ED3C7A9-60CE-4073-A6DB-827B4676C172}"/>
                </a:ext>
              </a:extLst>
            </p:cNvPr>
            <p:cNvSpPr txBox="1"/>
            <p:nvPr/>
          </p:nvSpPr>
          <p:spPr>
            <a:xfrm>
              <a:off x="4602409" y="2450205"/>
              <a:ext cx="1475884" cy="5657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15240" rIns="22860" bIns="1524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dirty="0"/>
                <a:t>…</a:t>
              </a:r>
              <a:endParaRPr lang="en-US" sz="1200" kern="1200" dirty="0"/>
            </a:p>
          </p:txBody>
        </p:sp>
      </p:grp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09DDDA4-7702-3647-8043-F96B819E1E68}"/>
              </a:ext>
            </a:extLst>
          </p:cNvPr>
          <p:cNvSpPr txBox="1">
            <a:spLocks/>
          </p:cNvSpPr>
          <p:nvPr/>
        </p:nvSpPr>
        <p:spPr bwMode="auto">
          <a:xfrm>
            <a:off x="185304" y="171584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None/>
              <a:defRPr sz="2000" kern="1200" baseline="0">
                <a:solidFill>
                  <a:schemeClr val="tx1"/>
                </a:solidFill>
                <a:latin typeface="+mj-lt"/>
                <a:ea typeface="ヒラギノ角ゴ Pro W3" charset="0"/>
                <a:cs typeface="ヒラギノ角ゴ Pro W3" charset="0"/>
              </a:defRPr>
            </a:lvl1pPr>
            <a:lvl2pPr marL="458788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800" kern="1200">
                <a:solidFill>
                  <a:schemeClr val="bg2"/>
                </a:solidFill>
                <a:latin typeface="+mn-lt"/>
                <a:ea typeface="ヒラギノ角ゴ Pro W3" charset="0"/>
                <a:cs typeface="ヒラギノ角ゴ Pro W3"/>
              </a:defRPr>
            </a:lvl2pPr>
            <a:lvl3pPr marL="684213" indent="-225425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ヒラギノ角ゴ Pro W3" charset="0"/>
                <a:cs typeface="ヒラギノ角ゴ Pro W3"/>
              </a:defRPr>
            </a:lvl3pPr>
            <a:lvl4pPr marL="912813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bg2"/>
                </a:solidFill>
                <a:latin typeface="+mn-lt"/>
                <a:ea typeface="ヒラギノ角ゴ Pro W3" charset="0"/>
                <a:cs typeface="ヒラギノ角ゴ Pro W3"/>
              </a:defRPr>
            </a:lvl4pPr>
            <a:lvl5pPr marL="1143000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bg2"/>
                </a:solidFill>
                <a:latin typeface="+mn-lt"/>
                <a:ea typeface="ヒラギノ角ゴ Pro W3" charset="0"/>
                <a:cs typeface="ヒラギノ角ゴ Pro W3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altLang="zh-CN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5G</a:t>
            </a:r>
            <a:r>
              <a:rPr lang="zh-CN" altLang="en-US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 </a:t>
            </a:r>
            <a:r>
              <a:rPr lang="en-US" altLang="zh-CN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SA</a:t>
            </a:r>
            <a:r>
              <a:rPr lang="zh-CN" altLang="en-US" b="1" dirty="0">
                <a:solidFill>
                  <a:srgbClr val="12419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应用及解码需求</a:t>
            </a:r>
          </a:p>
        </p:txBody>
      </p:sp>
    </p:spTree>
    <p:extLst>
      <p:ext uri="{BB962C8B-B14F-4D97-AF65-F5344CB8AC3E}">
        <p14:creationId xmlns:p14="http://schemas.microsoft.com/office/powerpoint/2010/main" val="3633336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2.potx [Read-Only]" id="{1B57A18E-CE7C-4044-B9B5-49464F06A29F}" vid="{61BFFE14-E596-40F9-B5DB-E9784F1A5955}"/>
    </a:ext>
  </a:extLst>
</a:theme>
</file>

<file path=ppt/theme/theme10.xml><?xml version="1.0" encoding="utf-8"?>
<a:theme xmlns:a="http://schemas.openxmlformats.org/drawingml/2006/main" name="1_Nokia-Vodafonet-5G-Workshop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1.xml><?xml version="1.0" encoding="utf-8"?>
<a:theme xmlns:a="http://schemas.openxmlformats.org/drawingml/2006/main" name="3_Arial_PPT_Nokia_Shanghai_Bell_V2.2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7B66EC4D-B1C2-47BA-885E-6998A303DA61}" vid="{F248B610-B4A3-49ED-A601-9E4C44F6F09B}"/>
    </a:ext>
  </a:extLst>
</a:theme>
</file>

<file path=ppt/theme/theme12.xml><?xml version="1.0" encoding="utf-8"?>
<a:theme xmlns:a="http://schemas.openxmlformats.org/drawingml/2006/main" name="NET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6213" marR="0" indent="-176213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31" id="{F3979514-B0E5-42DC-ACCA-9FA05F28CAA9}" vid="{98B7F717-C75F-4105-973B-6C30F016FCD1}"/>
    </a:ext>
  </a:extLst>
</a:theme>
</file>

<file path=ppt/theme/theme13.xml><?xml version="1.0" encoding="utf-8"?>
<a:theme xmlns:a="http://schemas.openxmlformats.org/drawingml/2006/main" name="2_NET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6213" marR="0" indent="-176213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31" id="{F3979514-B0E5-42DC-ACCA-9FA05F28CAA9}" vid="{98B7F717-C75F-4105-973B-6C30F016FCD1}"/>
    </a:ext>
  </a:extLst>
</a:theme>
</file>

<file path=ppt/theme/theme14.xml><?xml version="1.0" encoding="utf-8"?>
<a:theme xmlns:a="http://schemas.openxmlformats.org/drawingml/2006/main" name="5_NET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6213" marR="0" indent="-176213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31" id="{F3979514-B0E5-42DC-ACCA-9FA05F28CAA9}" vid="{98B7F717-C75F-4105-973B-6C30F016FCD1}"/>
    </a:ext>
  </a:extLst>
</a:theme>
</file>

<file path=ppt/theme/theme15.xml><?xml version="1.0" encoding="utf-8"?>
<a:theme xmlns:a="http://schemas.openxmlformats.org/drawingml/2006/main" name="6_NET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6213" marR="0" indent="-176213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31" id="{F3979514-B0E5-42DC-ACCA-9FA05F28CAA9}" vid="{98B7F717-C75F-4105-973B-6C30F016FCD1}"/>
    </a:ext>
  </a:extLst>
</a:theme>
</file>

<file path=ppt/theme/theme16.xml><?xml version="1.0" encoding="utf-8"?>
<a:theme xmlns:a="http://schemas.openxmlformats.org/drawingml/2006/main" name="8_NET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6213" marR="0" indent="-176213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31" id="{F3979514-B0E5-42DC-ACCA-9FA05F28CAA9}" vid="{98B7F717-C75F-4105-973B-6C30F016FCD1}"/>
    </a:ext>
  </a:extLst>
</a:theme>
</file>

<file path=ppt/theme/theme17.xml><?xml version="1.0" encoding="utf-8"?>
<a:theme xmlns:a="http://schemas.openxmlformats.org/drawingml/2006/main" name="4_Nokia PowerPoint Template Nokia Pure Macro Free v29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0" id="{4DA9F114-FBE4-4A09-BAC2-3D960E52B577}" vid="{D82AE156-8105-4C36-BB74-725C99AEEEE3}"/>
    </a:ext>
  </a:extLst>
</a:theme>
</file>

<file path=ppt/theme/theme18.xml><?xml version="1.0" encoding="utf-8"?>
<a:theme xmlns:a="http://schemas.openxmlformats.org/drawingml/2006/main" name="4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CDE6519-91B4-4672-9FDC-115FB91B4CAE}" vid="{D0CF8F22-AE4B-4FAA-939C-C0BA9D10245A}"/>
    </a:ext>
  </a:extLst>
</a:theme>
</file>

<file path=ppt/theme/theme19.xml><?xml version="1.0" encoding="utf-8"?>
<a:theme xmlns:a="http://schemas.openxmlformats.org/drawingml/2006/main" name="Nokia PowerPoint Template Nokia Pure v25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2.xml><?xml version="1.0" encoding="utf-8"?>
<a:theme xmlns:a="http://schemas.openxmlformats.org/drawingml/2006/main" name="NET_PPT_Temp_Arial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6213" marR="0" indent="-176213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smtClean="0">
            <a:solidFill>
              <a:schemeClr val="tx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rial_PPT_NET_V1.potx [Read-Only]" id="{E8D67E21-8E16-4253-9ED5-FA3CFAC42F6F}" vid="{B8E91387-16EC-4570-86E9-FEBEB1723C5B}"/>
    </a:ext>
  </a:extLst>
</a:theme>
</file>

<file path=ppt/theme/theme20.xml><?xml version="1.0" encoding="utf-8"?>
<a:theme xmlns:a="http://schemas.openxmlformats.org/drawingml/2006/main" name="5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Shanghai_Bell_V3" id="{AF4CE12F-4A22-4894-8473-6CFADEB806E4}" vid="{7CD683F8-C569-4225-B946-E85F5F0CFFA6}"/>
    </a:ext>
  </a:extLst>
</a:theme>
</file>

<file path=ppt/theme/theme21.xml><?xml version="1.0" encoding="utf-8"?>
<a:theme xmlns:a="http://schemas.openxmlformats.org/drawingml/2006/main" name="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2.xml><?xml version="1.0" encoding="utf-8"?>
<a:theme xmlns:a="http://schemas.openxmlformats.org/drawingml/2006/main" name="1_Nokia_Pure_PPT_Nokia_Shanghai_Bell_V2.2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CDE6519-91B4-4672-9FDC-115FB91B4CAE}" vid="{D0CF8F22-AE4B-4FAA-939C-C0BA9D10245A}"/>
    </a:ext>
  </a:extLst>
</a:theme>
</file>

<file path=ppt/theme/theme23.xml><?xml version="1.0" encoding="utf-8"?>
<a:theme xmlns:a="http://schemas.openxmlformats.org/drawingml/2006/main" name="2_Nokia_Pure_PPT_Nokia_Shanghai_Bell_V2.2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CDE6519-91B4-4672-9FDC-115FB91B4CAE}" vid="{D0CF8F22-AE4B-4FAA-939C-C0BA9D10245A}"/>
    </a:ext>
  </a:extLst>
</a:theme>
</file>

<file path=ppt/theme/theme24.xml><?xml version="1.0" encoding="utf-8"?>
<a:theme xmlns:a="http://schemas.openxmlformats.org/drawingml/2006/main" name="15_NET_PPT_Temp_Arial_Macro_Free_v5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1" id="{8D803308-784A-4915-9600-984AB2AA7C57}" vid="{40DA430F-9525-450C-A1C3-970D65CC2B3B}"/>
    </a:ext>
  </a:extLst>
</a:theme>
</file>

<file path=ppt/theme/theme25.xml><?xml version="1.0" encoding="utf-8"?>
<a:theme xmlns:a="http://schemas.openxmlformats.org/drawingml/2006/main" name="1_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1450" marR="0" indent="-17145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2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RP_PPT_Temp_Pure_V31" id="{A6AED3E7-0C72-484F-A9C8-9CB8C2240EAA}" vid="{97293067-8DDD-4C54-9501-D657FA91D62D}"/>
    </a:ext>
  </a:extLst>
</a:theme>
</file>

<file path=ppt/theme/theme26.xml><?xml version="1.0" encoding="utf-8"?>
<a:theme xmlns:a="http://schemas.openxmlformats.org/drawingml/2006/main" name="演示文稿1">
  <a:themeElements>
    <a:clrScheme name="演示文稿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演示文稿1">
      <a:majorFont>
        <a:latin typeface="Arial"/>
        <a:ea typeface="楷体_GB2312"/>
        <a:cs typeface=""/>
      </a:majorFont>
      <a:minorFont>
        <a:latin typeface="Arial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787" tIns="50892" rIns="101787" bIns="50892" numCol="1" anchor="t" anchorCtr="0" compatLnSpc="1">
        <a:prstTxWarp prst="textNoShape">
          <a:avLst/>
        </a:prstTxWarp>
      </a:bodyPr>
      <a:lstStyle>
        <a:defPPr marL="176213" marR="0" indent="-176213" algn="just" defTabSz="1019175" rtl="0" eaLnBrk="1" fontAlgn="base" latinLnBrk="0" hangingPunct="1">
          <a:lnSpc>
            <a:spcPct val="110000"/>
          </a:lnSpc>
          <a:spcBef>
            <a:spcPct val="40000"/>
          </a:spcBef>
          <a:spcAft>
            <a:spcPct val="0"/>
          </a:spcAft>
          <a:buClrTx/>
          <a:buSzPct val="80000"/>
          <a:buFont typeface="Wingdings" pitchFamily="2" charset="2"/>
          <a:buChar char="n"/>
          <a:tabLst/>
          <a:defRPr kumimoji="0" lang="zh-CN" alt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楷体_GB2312" pitchFamily="49" charset="-122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787" tIns="50892" rIns="101787" bIns="50892" numCol="1" anchor="t" anchorCtr="0" compatLnSpc="1">
        <a:prstTxWarp prst="textNoShape">
          <a:avLst/>
        </a:prstTxWarp>
      </a:bodyPr>
      <a:lstStyle>
        <a:defPPr marL="176213" marR="0" indent="-176213" algn="just" defTabSz="1019175" rtl="0" eaLnBrk="1" fontAlgn="base" latinLnBrk="0" hangingPunct="1">
          <a:lnSpc>
            <a:spcPct val="110000"/>
          </a:lnSpc>
          <a:spcBef>
            <a:spcPct val="40000"/>
          </a:spcBef>
          <a:spcAft>
            <a:spcPct val="0"/>
          </a:spcAft>
          <a:buClrTx/>
          <a:buSzPct val="80000"/>
          <a:buFont typeface="Wingdings" pitchFamily="2" charset="2"/>
          <a:buChar char="n"/>
          <a:tabLst/>
          <a:defRPr kumimoji="0" lang="zh-CN" alt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楷体_GB2312" pitchFamily="49" charset="-122"/>
            <a:ea typeface="楷体_GB2312" pitchFamily="49" charset="-122"/>
          </a:defRPr>
        </a:defPPr>
      </a:lstStyle>
    </a:lnDef>
  </a:objectDefaults>
  <a:extraClrSchemeLst>
    <a:extraClrScheme>
      <a:clrScheme name="演示文稿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sb.template.by.steve.potx" id="{6DFA5B4F-44BA-4FE2-AE25-AC3919C50FBC}" vid="{11E3D43C-D2B6-4CBB-B340-31E7C3BD5213}"/>
    </a:ext>
  </a:extLst>
</a:theme>
</file>

<file path=ppt/theme/theme27.xml><?xml version="1.0" encoding="utf-8"?>
<a:theme xmlns:a="http://schemas.openxmlformats.org/drawingml/2006/main" name="1_2 Nokia INTERNAL White Master plain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>
          <a:noFill/>
          <a:prstDash val="solid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_Pure_PPT_Corp_V3" id="{EBFA465A-F99A-440C-9EAF-9E2AFF539F79}" vid="{EF96A764-DD67-4439-8BD0-91AD32E03C73}"/>
    </a:ext>
  </a:extLst>
</a:theme>
</file>

<file path=ppt/theme/theme28.xml><?xml version="1.0" encoding="utf-8"?>
<a:theme xmlns:a="http://schemas.openxmlformats.org/drawingml/2006/main" name="CORP_PPT_Temp_Pure_V2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29" id="{87D3FFF2-CAA1-4FD4-91D1-8A7835009366}" vid="{1E39DFE6-DD35-4EC6-A0B0-F02986C14DF3}"/>
    </a:ext>
  </a:extLst>
</a:theme>
</file>

<file path=ppt/theme/theme29.xml><?xml version="1.0" encoding="utf-8"?>
<a:theme xmlns:a="http://schemas.openxmlformats.org/drawingml/2006/main" name="1_CORP_PPT_Temp_Pure_V2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29" id="{87D3FFF2-CAA1-4FD4-91D1-8A7835009366}" vid="{1E39DFE6-DD35-4EC6-A0B0-F02986C14DF3}"/>
    </a:ext>
  </a:extLst>
</a:theme>
</file>

<file path=ppt/theme/theme3.xml><?xml version="1.0" encoding="utf-8"?>
<a:theme xmlns:a="http://schemas.openxmlformats.org/drawingml/2006/main" name="3_Nokia Master Blue Background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2"/>
          </a:solidFill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9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potx [Read-Only]" id="{FD3823A6-E996-4AFE-8EF3-76595AD50F8B}" vid="{0505652C-DF4E-4025-A0AB-ABC7E39613C8}"/>
    </a:ext>
  </a:extLst>
</a:theme>
</file>

<file path=ppt/theme/theme30.xml><?xml version="1.0" encoding="utf-8"?>
<a:theme xmlns:a="http://schemas.openxmlformats.org/drawingml/2006/main" name="1_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  <a:effectLst/>
      </a:spPr>
      <a:bodyPr vert="vert" lIns="54000" tIns="54000" rIns="54000" bIns="54000" rtlCol="0" anchor="t" anchorCtr="0"/>
      <a:lstStyle>
        <a:defPPr marL="171450" indent="-171450" algn="ctr">
          <a:lnSpc>
            <a:spcPct val="90000"/>
          </a:lnSpc>
          <a:spcBef>
            <a:spcPts val="480"/>
          </a:spcBef>
          <a:defRPr sz="1100" dirty="0" smtClean="0">
            <a:solidFill>
              <a:schemeClr val="bg1"/>
            </a:solidFill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1.xml><?xml version="1.0" encoding="utf-8"?>
<a:theme xmlns:a="http://schemas.openxmlformats.org/drawingml/2006/main" name="1_NET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6213" marR="0" indent="-176213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31" id="{F3979514-B0E5-42DC-ACCA-9FA05F28CAA9}" vid="{98B7F717-C75F-4105-973B-6C30F016FCD1}"/>
    </a:ext>
  </a:extLst>
</a:theme>
</file>

<file path=ppt/theme/theme32.xml><?xml version="1.0" encoding="utf-8"?>
<a:theme xmlns:a="http://schemas.openxmlformats.org/drawingml/2006/main" name="2_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  <a:effectLst/>
      </a:spPr>
      <a:bodyPr vert="vert" lIns="54000" tIns="54000" rIns="54000" bIns="54000" rtlCol="0" anchor="t" anchorCtr="0"/>
      <a:lstStyle>
        <a:defPPr marL="171450" indent="-171450" algn="ctr">
          <a:lnSpc>
            <a:spcPct val="90000"/>
          </a:lnSpc>
          <a:spcBef>
            <a:spcPts val="480"/>
          </a:spcBef>
          <a:defRPr sz="1100" dirty="0" smtClean="0">
            <a:solidFill>
              <a:schemeClr val="bg1"/>
            </a:solidFill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3.xml><?xml version="1.0" encoding="utf-8"?>
<a:theme xmlns:a="http://schemas.openxmlformats.org/drawingml/2006/main" name="6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7B66EC4D-B1C2-47BA-885E-6998A303DA61}" vid="{F248B610-B4A3-49ED-A601-9E4C44F6F09B}"/>
    </a:ext>
  </a:extLst>
</a:theme>
</file>

<file path=ppt/theme/theme34.xml><?xml version="1.0" encoding="utf-8"?>
<a:theme xmlns:a="http://schemas.openxmlformats.org/drawingml/2006/main" name="7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2.potx [Read-Only]" id="{1B57A18E-CE7C-4044-B9B5-49464F06A29F}" vid="{61BFFE14-E596-40F9-B5DB-E9784F1A5955}"/>
    </a:ext>
  </a:extLst>
</a:theme>
</file>

<file path=ppt/theme/theme35.xml><?xml version="1.0" encoding="utf-8"?>
<a:theme xmlns:a="http://schemas.openxmlformats.org/drawingml/2006/main" name="5_(C) Nordri™ Corporation.">
  <a:themeElements>
    <a:clrScheme name="(C) Nordri™ Corporation. 1">
      <a:dk1>
        <a:srgbClr val="000000"/>
      </a:dk1>
      <a:lt1>
        <a:srgbClr val="FFFFFF"/>
      </a:lt1>
      <a:dk2>
        <a:srgbClr val="FFFFFF"/>
      </a:dk2>
      <a:lt2>
        <a:srgbClr val="A0A0A0"/>
      </a:lt2>
      <a:accent1>
        <a:srgbClr val="CC0000"/>
      </a:accent1>
      <a:accent2>
        <a:srgbClr val="E08E79"/>
      </a:accent2>
      <a:accent3>
        <a:srgbClr val="FFFFFF"/>
      </a:accent3>
      <a:accent4>
        <a:srgbClr val="000000"/>
      </a:accent4>
      <a:accent5>
        <a:srgbClr val="E2AAAA"/>
      </a:accent5>
      <a:accent6>
        <a:srgbClr val="CB806D"/>
      </a:accent6>
      <a:hlink>
        <a:srgbClr val="0F4B96"/>
      </a:hlink>
      <a:folHlink>
        <a:srgbClr val="FABE00"/>
      </a:folHlink>
    </a:clrScheme>
    <a:fontScheme name="(C) Nordri™ Corporation.">
      <a:majorFont>
        <a:latin typeface="Arial"/>
        <a:ea typeface="黑体"/>
        <a:cs typeface=""/>
      </a:majorFont>
      <a:minorFont>
        <a:latin typeface="黑体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(C) Nordri™ Corporation. 1">
        <a:dk1>
          <a:srgbClr val="000000"/>
        </a:dk1>
        <a:lt1>
          <a:srgbClr val="FFFFFF"/>
        </a:lt1>
        <a:dk2>
          <a:srgbClr val="FFFFFF"/>
        </a:dk2>
        <a:lt2>
          <a:srgbClr val="A0A0A0"/>
        </a:lt2>
        <a:accent1>
          <a:srgbClr val="CC0000"/>
        </a:accent1>
        <a:accent2>
          <a:srgbClr val="E08E79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CB806D"/>
        </a:accent6>
        <a:hlink>
          <a:srgbClr val="0F4B96"/>
        </a:hlink>
        <a:folHlink>
          <a:srgbClr val="FAB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6.xml><?xml version="1.0" encoding="utf-8"?>
<a:theme xmlns:a="http://schemas.openxmlformats.org/drawingml/2006/main" name="NET_PPT_Temp_Arial_Macro_Free_v52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1" id="{8D803308-784A-4915-9600-984AB2AA7C57}" vid="{40DA430F-9525-450C-A1C3-970D65CC2B3B}"/>
    </a:ext>
  </a:extLst>
</a:theme>
</file>

<file path=ppt/theme/theme37.xml><?xml version="1.0" encoding="utf-8"?>
<a:theme xmlns:a="http://schemas.openxmlformats.org/drawingml/2006/main" name="1_演示文稿1">
  <a:themeElements>
    <a:clrScheme name="演示文稿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演示文稿1">
      <a:majorFont>
        <a:latin typeface="Arial"/>
        <a:ea typeface="楷体_GB2312"/>
        <a:cs typeface=""/>
      </a:majorFont>
      <a:minorFont>
        <a:latin typeface="Arial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787" tIns="50892" rIns="101787" bIns="50892" numCol="1" anchor="t" anchorCtr="0" compatLnSpc="1">
        <a:prstTxWarp prst="textNoShape">
          <a:avLst/>
        </a:prstTxWarp>
      </a:bodyPr>
      <a:lstStyle>
        <a:defPPr marL="176213" marR="0" indent="-176213" algn="just" defTabSz="1019175" rtl="0" eaLnBrk="1" fontAlgn="base" latinLnBrk="0" hangingPunct="1">
          <a:lnSpc>
            <a:spcPct val="110000"/>
          </a:lnSpc>
          <a:spcBef>
            <a:spcPct val="40000"/>
          </a:spcBef>
          <a:spcAft>
            <a:spcPct val="0"/>
          </a:spcAft>
          <a:buClrTx/>
          <a:buSzPct val="80000"/>
          <a:buFont typeface="Wingdings" pitchFamily="2" charset="2"/>
          <a:buChar char="n"/>
          <a:tabLst/>
          <a:defRPr kumimoji="0" lang="zh-CN" alt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楷体_GB2312" pitchFamily="49" charset="-122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787" tIns="50892" rIns="101787" bIns="50892" numCol="1" anchor="t" anchorCtr="0" compatLnSpc="1">
        <a:prstTxWarp prst="textNoShape">
          <a:avLst/>
        </a:prstTxWarp>
      </a:bodyPr>
      <a:lstStyle>
        <a:defPPr marL="176213" marR="0" indent="-176213" algn="just" defTabSz="1019175" rtl="0" eaLnBrk="1" fontAlgn="base" latinLnBrk="0" hangingPunct="1">
          <a:lnSpc>
            <a:spcPct val="110000"/>
          </a:lnSpc>
          <a:spcBef>
            <a:spcPct val="40000"/>
          </a:spcBef>
          <a:spcAft>
            <a:spcPct val="0"/>
          </a:spcAft>
          <a:buClrTx/>
          <a:buSzPct val="80000"/>
          <a:buFont typeface="Wingdings" pitchFamily="2" charset="2"/>
          <a:buChar char="n"/>
          <a:tabLst/>
          <a:defRPr kumimoji="0" lang="zh-CN" alt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楷体_GB2312" pitchFamily="49" charset="-122"/>
            <a:ea typeface="楷体_GB2312" pitchFamily="49" charset="-122"/>
          </a:defRPr>
        </a:defPPr>
      </a:lstStyle>
    </a:lnDef>
  </a:objectDefaults>
  <a:extraClrSchemeLst>
    <a:extraClrScheme>
      <a:clrScheme name="演示文稿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sb template new.potx" id="{7B6A21D2-85A1-4327-AFB5-D7CE89B7D23A}" vid="{055DAC8F-A3F2-4C6D-B6EB-03BF939BD9E5}"/>
    </a:ext>
  </a:extLst>
</a:theme>
</file>

<file path=ppt/theme/theme38.xml><?xml version="1.0" encoding="utf-8"?>
<a:theme xmlns:a="http://schemas.openxmlformats.org/drawingml/2006/main" name="1_Nokia PowerPoint Template Nokia Pure v25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25.potm [Read-Only]" id="{1644C474-EBF5-46AA-9057-6734FF2950F2}" vid="{91B26A0E-C398-4B9C-BFD0-1393CE08CF12}"/>
    </a:ext>
  </a:extLst>
</a:theme>
</file>

<file path=ppt/theme/theme39.xml><?xml version="1.0" encoding="utf-8"?>
<a:theme xmlns:a="http://schemas.openxmlformats.org/drawingml/2006/main" name="10_NET_PPT_Temp_Arial_Macro_Free_v5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1" id="{8D803308-784A-4915-9600-984AB2AA7C57}" vid="{40DA430F-9525-450C-A1C3-970D65CC2B3B}"/>
    </a:ext>
  </a:extLst>
</a:theme>
</file>

<file path=ppt/theme/theme4.xml><?xml version="1.0" encoding="utf-8"?>
<a:theme xmlns:a="http://schemas.openxmlformats.org/drawingml/2006/main" name="3_CORP_PPT_Temp_Pure_V2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130A1CCD-F2D3-4A1D-8412-B8291312C9EA}"/>
    </a:ext>
  </a:extLst>
</a:theme>
</file>

<file path=ppt/theme/theme40.xml><?xml version="1.0" encoding="utf-8"?>
<a:theme xmlns:a="http://schemas.openxmlformats.org/drawingml/2006/main" name="1_CORP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1450" marR="0" indent="-17145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2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RP_PPT_Temp_Pure_V31" id="{A6AED3E7-0C72-484F-A9C8-9CB8C2240EAA}" vid="{97293067-8DDD-4C54-9501-D657FA91D62D}"/>
    </a:ext>
  </a:extLst>
</a:theme>
</file>

<file path=ppt/theme/theme41.xml><?xml version="1.0" encoding="utf-8"?>
<a:theme xmlns:a="http://schemas.openxmlformats.org/drawingml/2006/main" name="8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Shanghai_Bell_V3" id="{AF4CE12F-4A22-4894-8473-6CFADEB806E4}" vid="{7CD683F8-C569-4225-B946-E85F5F0CFFA6}"/>
    </a:ext>
  </a:extLst>
</a:theme>
</file>

<file path=ppt/theme/theme42.xml><?xml version="1.0" encoding="utf-8"?>
<a:theme xmlns:a="http://schemas.openxmlformats.org/drawingml/2006/main" name="10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CDE6519-91B4-4672-9FDC-115FB91B4CAE}" vid="{D0CF8F22-AE4B-4FAA-939C-C0BA9D10245A}"/>
    </a:ext>
  </a:extLst>
</a:theme>
</file>

<file path=ppt/theme/theme43.xml><?xml version="1.0" encoding="utf-8"?>
<a:theme xmlns:a="http://schemas.openxmlformats.org/drawingml/2006/main" name="1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4.xml><?xml version="1.0" encoding="utf-8"?>
<a:theme xmlns:a="http://schemas.openxmlformats.org/drawingml/2006/main" name="2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5.xml><?xml version="1.0" encoding="utf-8"?>
<a:theme xmlns:a="http://schemas.openxmlformats.org/drawingml/2006/main" name="12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Shanghai_Bell_V3" id="{AF4CE12F-4A22-4894-8473-6CFADEB806E4}" vid="{7CD683F8-C569-4225-B946-E85F5F0CFFA6}"/>
    </a:ext>
  </a:extLst>
</a:theme>
</file>

<file path=ppt/theme/theme46.xml><?xml version="1.0" encoding="utf-8"?>
<a:theme xmlns:a="http://schemas.openxmlformats.org/drawingml/2006/main" name="5_Nokia PowerPoint Template Nokia Pure Macro Free v29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0" id="{4DA9F114-FBE4-4A09-BAC2-3D960E52B577}" vid="{D82AE156-8105-4C36-BB74-725C99AEEEE3}"/>
    </a:ext>
  </a:extLst>
</a:theme>
</file>

<file path=ppt/theme/theme47.xml><?xml version="1.0" encoding="utf-8"?>
<a:theme xmlns:a="http://schemas.openxmlformats.org/drawingml/2006/main" name="11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Shanghai_Bell_V3.1.potx [Read-Only]" id="{741C9FBF-6536-48DE-BD5E-D4D188DB7ADF}" vid="{2AF26840-5C71-4A15-B202-1C12031BFAB3}"/>
    </a:ext>
  </a:extLst>
</a:theme>
</file>

<file path=ppt/theme/theme48.xml><?xml version="1.0" encoding="utf-8"?>
<a:theme xmlns:a="http://schemas.openxmlformats.org/drawingml/2006/main" name="3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9.xml><?xml version="1.0" encoding="utf-8"?>
<a:theme xmlns:a="http://schemas.openxmlformats.org/drawingml/2006/main" name="13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CDE6519-91B4-4672-9FDC-115FB91B4CAE}" vid="{D0CF8F22-AE4B-4FAA-939C-C0BA9D10245A}"/>
    </a:ext>
  </a:extLst>
</a:theme>
</file>

<file path=ppt/theme/theme5.xml><?xml version="1.0" encoding="utf-8"?>
<a:theme xmlns:a="http://schemas.openxmlformats.org/drawingml/2006/main" name="1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2.potx [Read-Only]" id="{1B57A18E-CE7C-4044-B9B5-49464F06A29F}" vid="{61BFFE14-E596-40F9-B5DB-E9784F1A5955}"/>
    </a:ext>
  </a:extLst>
</a:theme>
</file>

<file path=ppt/theme/theme50.xml><?xml version="1.0" encoding="utf-8"?>
<a:theme xmlns:a="http://schemas.openxmlformats.org/drawingml/2006/main" name="14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3" id="{EBFA465A-F99A-440C-9EAF-9E2AFF539F79}" vid="{74E9AEE0-7FE0-4E86-A209-704C6EA35B36}"/>
    </a:ext>
  </a:extLst>
</a:theme>
</file>

<file path=ppt/theme/theme51.xml><?xml version="1.0" encoding="utf-8"?>
<a:theme xmlns:a="http://schemas.openxmlformats.org/drawingml/2006/main" name="16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Shanghai_Bell_V3" id="{AF4CE12F-4A22-4894-8473-6CFADEB806E4}" vid="{7CD683F8-C569-4225-B946-E85F5F0CFFA6}"/>
    </a:ext>
  </a:extLst>
</a:theme>
</file>

<file path=ppt/theme/theme52.xml><?xml version="1.0" encoding="utf-8"?>
<a:theme xmlns:a="http://schemas.openxmlformats.org/drawingml/2006/main" name="2_演示文稿1">
  <a:themeElements>
    <a:clrScheme name="演示文稿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演示文稿1">
      <a:majorFont>
        <a:latin typeface="Arial"/>
        <a:ea typeface="楷体_GB2312"/>
        <a:cs typeface=""/>
      </a:majorFont>
      <a:minorFont>
        <a:latin typeface="Arial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787" tIns="50892" rIns="101787" bIns="50892" numCol="1" anchor="t" anchorCtr="0" compatLnSpc="1">
        <a:prstTxWarp prst="textNoShape">
          <a:avLst/>
        </a:prstTxWarp>
      </a:bodyPr>
      <a:lstStyle>
        <a:defPPr marL="176213" marR="0" indent="-176213" algn="just" defTabSz="1019175" rtl="0" eaLnBrk="1" fontAlgn="base" latinLnBrk="0" hangingPunct="1">
          <a:lnSpc>
            <a:spcPct val="110000"/>
          </a:lnSpc>
          <a:spcBef>
            <a:spcPct val="40000"/>
          </a:spcBef>
          <a:spcAft>
            <a:spcPct val="0"/>
          </a:spcAft>
          <a:buClrTx/>
          <a:buSzPct val="80000"/>
          <a:buFont typeface="Wingdings" pitchFamily="2" charset="2"/>
          <a:buChar char="n"/>
          <a:tabLst/>
          <a:defRPr kumimoji="0" lang="zh-CN" alt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楷体_GB2312" pitchFamily="49" charset="-122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1787" tIns="50892" rIns="101787" bIns="50892" numCol="1" anchor="t" anchorCtr="0" compatLnSpc="1">
        <a:prstTxWarp prst="textNoShape">
          <a:avLst/>
        </a:prstTxWarp>
      </a:bodyPr>
      <a:lstStyle>
        <a:defPPr marL="176213" marR="0" indent="-176213" algn="just" defTabSz="1019175" rtl="0" eaLnBrk="1" fontAlgn="base" latinLnBrk="0" hangingPunct="1">
          <a:lnSpc>
            <a:spcPct val="110000"/>
          </a:lnSpc>
          <a:spcBef>
            <a:spcPct val="40000"/>
          </a:spcBef>
          <a:spcAft>
            <a:spcPct val="0"/>
          </a:spcAft>
          <a:buClrTx/>
          <a:buSzPct val="80000"/>
          <a:buFont typeface="Wingdings" pitchFamily="2" charset="2"/>
          <a:buChar char="n"/>
          <a:tabLst/>
          <a:defRPr kumimoji="0" lang="zh-CN" alt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楷体_GB2312" pitchFamily="49" charset="-122"/>
            <a:ea typeface="楷体_GB2312" pitchFamily="49" charset="-122"/>
          </a:defRPr>
        </a:defPPr>
      </a:lstStyle>
    </a:lnDef>
  </a:objectDefaults>
  <a:extraClrSchemeLst>
    <a:extraClrScheme>
      <a:clrScheme name="演示文稿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文稿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文稿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sb.template.by.steve.potx" id="{6DFA5B4F-44BA-4FE2-AE25-AC3919C50FBC}" vid="{11E3D43C-D2B6-4CBB-B340-31E7C3BD5213}"/>
    </a:ext>
  </a:extLst>
</a:theme>
</file>

<file path=ppt/theme/theme5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ORP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1450" marR="0" indent="-17145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2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RP_PPT_Temp_Pure_V31" id="{A6AED3E7-0C72-484F-A9C8-9CB8C2240EAA}" vid="{97293067-8DDD-4C54-9501-D657FA91D62D}"/>
    </a:ext>
  </a:extLst>
</a:theme>
</file>

<file path=ppt/theme/theme7.xml><?xml version="1.0" encoding="utf-8"?>
<a:theme xmlns:a="http://schemas.openxmlformats.org/drawingml/2006/main" name="2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V3.potx [Read-Only]" id="{3E0B66C6-78A7-4688-847B-8C920CC8319C}" vid="{730A0245-E4F4-41EC-8FC5-2B276B2239C8}"/>
    </a:ext>
  </a:extLst>
</a:theme>
</file>

<file path=ppt/theme/theme8.xml><?xml version="1.0" encoding="utf-8"?>
<a:theme xmlns:a="http://schemas.openxmlformats.org/drawingml/2006/main" name="3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BELL_LABS_V7.3" id="{13E0DBFF-DF40-411E-B67E-CEF4C27D74B1}" vid="{BE0476C0-2AFB-4004-ABA1-C3317B46496B}"/>
    </a:ext>
  </a:extLst>
</a:theme>
</file>

<file path=ppt/theme/theme9.xml><?xml version="1.0" encoding="utf-8"?>
<a:theme xmlns:a="http://schemas.openxmlformats.org/drawingml/2006/main" name="Nokia_Pure_PPT_Nokia_Shanghai_Bell_V2.2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CDE6519-91B4-4672-9FDC-115FB91B4CAE}" vid="{D0CF8F22-AE4B-4FAA-939C-C0BA9D10245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SharedContentType xmlns="Microsoft.SharePoint.Taxonomy.ContentTypeSync" SourceId="34c87397-5fc1-491e-85e7-d6110dbe9cbd" ContentTypeId="0x010100CE50E52E7543470BBDD3827FE50C59CB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Nokia Document" ma:contentTypeID="0x010100CE50E52E7543470BBDD3827FE50C59CB002A860CE5CB453A4BAA3454E760A5DC17" ma:contentTypeVersion="29" ma:contentTypeDescription="Create Nokia Word Document" ma:contentTypeScope="" ma:versionID="fa2fec2b9dc773b08e5b160d7fa34668">
  <xsd:schema xmlns:xsd="http://www.w3.org/2001/XMLSchema" xmlns:xs="http://www.w3.org/2001/XMLSchema" xmlns:p="http://schemas.microsoft.com/office/2006/metadata/properties" xmlns:ns2="71c5aaf6-e6ce-465b-b873-5148d2a4c105" targetNamespace="http://schemas.microsoft.com/office/2006/metadata/properties" ma:root="true" ma:fieldsID="1ef8a78b00fb50540b40ef92e32293f2" ns2:_="">
    <xsd:import namespace="71c5aaf6-e6ce-465b-b873-5148d2a4c105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2:NokiaConfidentiality" minOccurs="0"/>
                <xsd:element ref="ns2:Owner" minOccurs="0"/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DocumentType" ma:index="8" nillable="true" ma:displayName="Document Type" ma:default="Description" ma:description="Document type specifies the content of the document" ma:format="Dropdown" ma:internalName="DocumentType" ma:readOnly="false">
      <xsd:simpleType>
        <xsd:restriction base="dms:Choice">
          <xsd:enumeration value="Policy"/>
          <xsd:enumeration value="Strategy"/>
          <xsd:enumeration value="Objectives / Targets"/>
          <xsd:enumeration value="Plan / Schedule"/>
          <xsd:enumeration value="Governance"/>
          <xsd:enumeration value="Organization"/>
          <xsd:enumeration value="Review Material"/>
          <xsd:enumeration value="Communication"/>
          <xsd:enumeration value="Minutes"/>
          <xsd:enumeration value="Training"/>
          <xsd:enumeration value="Standard Operating Procedure"/>
          <xsd:enumeration value="Process / Procedure / Standard"/>
          <xsd:enumeration value="Guideline / Manual / Instruction"/>
          <xsd:enumeration value="Description"/>
          <xsd:enumeration value="Form / Template"/>
          <xsd:enumeration value="Checklist"/>
          <xsd:enumeration value="Bid / Offer"/>
          <xsd:enumeration value="Contract / Order"/>
          <xsd:enumeration value="List"/>
          <xsd:enumeration value="Roadmap"/>
          <xsd:enumeration value="Requirement / Specification"/>
          <xsd:enumeration value="Design"/>
          <xsd:enumeration value="Concept / Proposal"/>
          <xsd:enumeration value="Measurement / KPI"/>
          <xsd:enumeration value="Report"/>
          <xsd:enumeration value="Best Practice / Lessons Learnt"/>
          <xsd:enumeration value="Analysis / Assessment"/>
          <xsd:enumeration value="Survey"/>
        </xsd:restriction>
      </xsd:simpleType>
    </xsd:element>
    <xsd:element name="NokiaConfidentiality" ma:index="9" nillable="true" ma:displayName="Nokia Confidentiality" ma:default="Nokia Internal Use" ma:format="Dropdown" ma:internalName="NokiaConfidentiality" ma:readOnly="false">
      <xsd:simpleType>
        <xsd:restriction base="dms:Choice">
          <xsd:enumeration value="Nokia Internal Use"/>
          <xsd:enumeration value="Confidential"/>
          <xsd:enumeration value="Secret"/>
          <xsd:enumeration value="Public"/>
        </xsd:restriction>
      </xsd:simpleType>
    </xsd:element>
    <xsd:element name="Owner" ma:index="10" nillable="true" ma:displayName="Owner" ma:description="Owner identifies the person or group who owns the document (default value is the same as the Creator of the document)" ma:internalName="Owner">
      <xsd:simpleType>
        <xsd:restriction base="dms:Text"/>
      </xsd:simpleType>
    </xsd:element>
    <xsd:element name="_dlc_DocId" ma:index="1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4" nillable="true" ma:displayName="HideFromDelve" ma:default="0" ma:internalName="HideFromDelv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71c5aaf6-e6ce-465b-b873-5148d2a4c105" xsi:nil="true"/>
    <DocumentType xmlns="71c5aaf6-e6ce-465b-b873-5148d2a4c105">Description</DocumentType>
    <NokiaConfidentiality xmlns="71c5aaf6-e6ce-465b-b873-5148d2a4c105">Nokia Internal Use</NokiaConfidentiality>
    <HideFromDelve xmlns="71c5aaf6-e6ce-465b-b873-5148d2a4c105">false</HideFromDelve>
    <_dlc_DocId xmlns="71c5aaf6-e6ce-465b-b873-5148d2a4c105">MTIRP3NIL2NU-1207337989-329</_dlc_DocId>
    <_dlc_DocIdUrl xmlns="71c5aaf6-e6ce-465b-b873-5148d2a4c105">
      <Url>https://nokia.sharepoint.com/sites/cmg-cn/_layouts/15/DocIdRedir.aspx?ID=MTIRP3NIL2NU-1207337989-329</Url>
      <Description>MTIRP3NIL2NU-1207337989-329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6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C254C25-E8D6-43DA-A92E-32B470C5EEF4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A1EA8B2B-BCAC-4278-A2C5-6472C3D143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26ABB71-64CE-46A5-A58E-F83476A03E78}">
  <ds:schemaRefs>
    <ds:schemaRef ds:uri="http://schemas.microsoft.com/office/2006/metadata/properties"/>
    <ds:schemaRef ds:uri="http://schemas.microsoft.com/office/infopath/2007/PartnerControls"/>
    <ds:schemaRef ds:uri="71c5aaf6-e6ce-465b-b873-5148d2a4c105"/>
  </ds:schemaRefs>
</ds:datastoreItem>
</file>

<file path=customXml/itemProps4.xml><?xml version="1.0" encoding="utf-8"?>
<ds:datastoreItem xmlns:ds="http://schemas.openxmlformats.org/officeDocument/2006/customXml" ds:itemID="{BD52A58E-1F70-45A0-B000-B129D47F87CB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36495E92-6B14-4DC7-A02F-101DD51E8488}">
  <ds:schemaRefs>
    <ds:schemaRef ds:uri="http://schemas.microsoft.com/office/2006/metadata/customXsn"/>
  </ds:schemaRefs>
</ds:datastoreItem>
</file>

<file path=customXml/itemProps6.xml><?xml version="1.0" encoding="utf-8"?>
<ds:datastoreItem xmlns:ds="http://schemas.openxmlformats.org/officeDocument/2006/customXml" ds:itemID="{71421092-ACFD-4C42-A26A-B12451080EF0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350</TotalTime>
  <Words>1233</Words>
  <Application>Microsoft Macintosh PowerPoint</Application>
  <PresentationFormat>全屏显示(16:9)</PresentationFormat>
  <Paragraphs>278</Paragraphs>
  <Slides>6</Slides>
  <Notes>3</Notes>
  <HiddenSlides>1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5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72" baseType="lpstr">
      <vt:lpstr>等线</vt:lpstr>
      <vt:lpstr>楷体_GB2312</vt:lpstr>
      <vt:lpstr>SimSun</vt:lpstr>
      <vt:lpstr>微软雅黑</vt:lpstr>
      <vt:lpstr>印品黑体</vt:lpstr>
      <vt:lpstr>Nokia Pure Headline Light</vt:lpstr>
      <vt:lpstr>Nokia Pure Headline Ultra Light</vt:lpstr>
      <vt:lpstr>Nokia Pure Text</vt:lpstr>
      <vt:lpstr>Nokia Pure Text Light</vt:lpstr>
      <vt:lpstr>Arial</vt:lpstr>
      <vt:lpstr>Calibri</vt:lpstr>
      <vt:lpstr>Lucida Grande</vt:lpstr>
      <vt:lpstr>Wingdings</vt:lpstr>
      <vt:lpstr>Nokia White Master with headline</vt:lpstr>
      <vt:lpstr>NET_PPT_Temp_Arial_V31</vt:lpstr>
      <vt:lpstr>3_Nokia Master Blue Background</vt:lpstr>
      <vt:lpstr>3_CORP_PPT_Temp_Pure_V23</vt:lpstr>
      <vt:lpstr>1_Nokia White Master with headline</vt:lpstr>
      <vt:lpstr>CORP_PPT_Temp_Pure_V33</vt:lpstr>
      <vt:lpstr>2_Nokia White Master with headline</vt:lpstr>
      <vt:lpstr>3_Nokia White Master with headline</vt:lpstr>
      <vt:lpstr>Nokia_Pure_PPT_Nokia_Shanghai_Bell_V2.2</vt:lpstr>
      <vt:lpstr>1_Nokia-Vodafonet-5G-Workshop</vt:lpstr>
      <vt:lpstr>3_Arial_PPT_Nokia_Shanghai_Bell_V2.2</vt:lpstr>
      <vt:lpstr>NET_PPT_Temp_Pure_V33</vt:lpstr>
      <vt:lpstr>2_NET_PPT_Temp_Pure_V33</vt:lpstr>
      <vt:lpstr>5_NET_PPT_Temp_Pure_V33</vt:lpstr>
      <vt:lpstr>6_NET_PPT_Temp_Pure_V33</vt:lpstr>
      <vt:lpstr>8_NET_PPT_Temp_Pure_V33</vt:lpstr>
      <vt:lpstr>4_Nokia PowerPoint Template Nokia Pure Macro Free v29</vt:lpstr>
      <vt:lpstr>4_Nokia White Master with headline</vt:lpstr>
      <vt:lpstr>Nokia PowerPoint Template Nokia Pure v25</vt:lpstr>
      <vt:lpstr>5_Nokia White Master with headline</vt:lpstr>
      <vt:lpstr>Nokia PowerPoint Template Arial v13</vt:lpstr>
      <vt:lpstr>1_Nokia_Pure_PPT_Nokia_Shanghai_Bell_V2.2</vt:lpstr>
      <vt:lpstr>2_Nokia_Pure_PPT_Nokia_Shanghai_Bell_V2.2</vt:lpstr>
      <vt:lpstr>15_NET_PPT_Temp_Arial_Macro_Free_v53</vt:lpstr>
      <vt:lpstr>1_CORP_PPT_Temp_Pure_V31</vt:lpstr>
      <vt:lpstr>演示文稿1</vt:lpstr>
      <vt:lpstr>1_2 Nokia INTERNAL White Master plain</vt:lpstr>
      <vt:lpstr>CORP_PPT_Temp_Pure_V23</vt:lpstr>
      <vt:lpstr>1_CORP_PPT_Temp_Pure_V23</vt:lpstr>
      <vt:lpstr>1_Nokia PowerPoint Template Nokia Pure v13</vt:lpstr>
      <vt:lpstr>1_NET_PPT_Temp_Pure_V33</vt:lpstr>
      <vt:lpstr>2_Nokia PowerPoint Template Nokia Pure v13</vt:lpstr>
      <vt:lpstr>6_Nokia White Master with headline</vt:lpstr>
      <vt:lpstr>7_Nokia White Master with headline</vt:lpstr>
      <vt:lpstr>5_(C) Nordri™ Corporation.</vt:lpstr>
      <vt:lpstr>NET_PPT_Temp_Arial_Macro_Free_v52</vt:lpstr>
      <vt:lpstr>1_演示文稿1</vt:lpstr>
      <vt:lpstr>1_Nokia PowerPoint Template Nokia Pure v25</vt:lpstr>
      <vt:lpstr>10_NET_PPT_Temp_Arial_Macro_Free_v53</vt:lpstr>
      <vt:lpstr>1_CORP_PPT_Temp_Pure_V33</vt:lpstr>
      <vt:lpstr>8_Nokia White Master with headline</vt:lpstr>
      <vt:lpstr>10_Nokia White Master with headline</vt:lpstr>
      <vt:lpstr>1_Nokia PowerPoint Template Arial v13</vt:lpstr>
      <vt:lpstr>2_Nokia PowerPoint Template Arial v13</vt:lpstr>
      <vt:lpstr>12_Nokia White Master with headline</vt:lpstr>
      <vt:lpstr>5_Nokia PowerPoint Template Nokia Pure Macro Free v29</vt:lpstr>
      <vt:lpstr>11_Nokia White Master with headline</vt:lpstr>
      <vt:lpstr>3_Nokia PowerPoint Template Arial v13</vt:lpstr>
      <vt:lpstr>13_Nokia White Master with headline</vt:lpstr>
      <vt:lpstr>14_Nokia White Master with headline</vt:lpstr>
      <vt:lpstr>16_Nokia White Master with headline</vt:lpstr>
      <vt:lpstr>2_演示文稿1</vt:lpstr>
      <vt:lpstr>think-cell Slide</vt:lpstr>
      <vt:lpstr>PowerPoint 演示文稿</vt:lpstr>
      <vt:lpstr>PowerPoint 演示文稿</vt:lpstr>
      <vt:lpstr>PowerPoint 演示文稿</vt:lpstr>
      <vt:lpstr>采集 考虑 5G核心网部署关键问题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wari, Bindhya (Nokia - FI/Espoo)</dc:creator>
  <cp:lastModifiedBy>Chen, Yuntao (NSB - CN/Shanghai)</cp:lastModifiedBy>
  <cp:revision>1264</cp:revision>
  <dcterms:created xsi:type="dcterms:W3CDTF">2016-10-20T07:38:45Z</dcterms:created>
  <dcterms:modified xsi:type="dcterms:W3CDTF">2019-09-08T14:4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50E52E7543470BBDD3827FE50C59CB002A860CE5CB453A4BAA3454E760A5DC17</vt:lpwstr>
  </property>
  <property fmtid="{D5CDD505-2E9C-101B-9397-08002B2CF9AE}" pid="3" name="_dlc_DocIdItemGuid">
    <vt:lpwstr>5da7ca4c-796f-4fbf-a5ae-96e9ff02b5e8</vt:lpwstr>
  </property>
</Properties>
</file>